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media/image28.jpg" ContentType="image/jpg"/>
  <Override PartName="/ppt/media/image41.jpg" ContentType="image/jpg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04" r:id="rId2"/>
    <p:sldMasterId id="2147483650" r:id="rId3"/>
  </p:sldMasterIdLst>
  <p:notesMasterIdLst>
    <p:notesMasterId r:id="rId17"/>
  </p:notesMasterIdLst>
  <p:handoutMasterIdLst>
    <p:handoutMasterId r:id="rId18"/>
  </p:handoutMasterIdLst>
  <p:sldIdLst>
    <p:sldId id="2147475401" r:id="rId4"/>
    <p:sldId id="273" r:id="rId5"/>
    <p:sldId id="2147475402" r:id="rId6"/>
    <p:sldId id="258" r:id="rId7"/>
    <p:sldId id="262" r:id="rId8"/>
    <p:sldId id="264" r:id="rId9"/>
    <p:sldId id="265" r:id="rId10"/>
    <p:sldId id="268" r:id="rId11"/>
    <p:sldId id="2147475403" r:id="rId12"/>
    <p:sldId id="2147475422" r:id="rId13"/>
    <p:sldId id="2147475425" r:id="rId14"/>
    <p:sldId id="277" r:id="rId15"/>
    <p:sldId id="3326" r:id="rId16"/>
  </p:sldIdLst>
  <p:sldSz cx="12192000" cy="6858000"/>
  <p:notesSz cx="6858000" cy="9144000"/>
  <p:custDataLst>
    <p:tags r:id="rId1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543" userDrawn="1">
          <p15:clr>
            <a:srgbClr val="A4A3A4"/>
          </p15:clr>
        </p15:guide>
        <p15:guide id="4" orient="horz" pos="1207" userDrawn="1">
          <p15:clr>
            <a:srgbClr val="A4A3A4"/>
          </p15:clr>
        </p15:guide>
        <p15:guide id="5" orient="horz" pos="834" userDrawn="1">
          <p15:clr>
            <a:srgbClr val="A4A3A4"/>
          </p15:clr>
        </p15:guide>
        <p15:guide id="6" orient="horz" pos="1525" userDrawn="1">
          <p15:clr>
            <a:srgbClr val="A4A3A4"/>
          </p15:clr>
        </p15:guide>
        <p15:guide id="7" orient="horz" pos="4076" userDrawn="1">
          <p15:clr>
            <a:srgbClr val="A4A3A4"/>
          </p15:clr>
        </p15:guide>
        <p15:guide id="8" orient="horz" pos="4180" userDrawn="1">
          <p15:clr>
            <a:srgbClr val="A4A3A4"/>
          </p15:clr>
        </p15:guide>
        <p15:guide id="9" pos="596" userDrawn="1">
          <p15:clr>
            <a:srgbClr val="A4A3A4"/>
          </p15:clr>
        </p15:guide>
        <p15:guide id="10" pos="7151" userDrawn="1">
          <p15:clr>
            <a:srgbClr val="A4A3A4"/>
          </p15:clr>
        </p15:guide>
        <p15:guide id="11" orient="horz" pos="2704" userDrawn="1">
          <p15:clr>
            <a:srgbClr val="A4A3A4"/>
          </p15:clr>
        </p15:guide>
        <p15:guide id="12" orient="horz" pos="3294" userDrawn="1">
          <p15:clr>
            <a:srgbClr val="A4A3A4"/>
          </p15:clr>
        </p15:guide>
        <p15:guide id="13" orient="horz" pos="350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3797E"/>
    <a:srgbClr val="AC1938"/>
    <a:srgbClr val="000000"/>
    <a:srgbClr val="919292"/>
    <a:srgbClr val="7B7B7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0E2A991-6DCE-4674-A207-FD4D932605AB}" v="14" dt="2025-10-01T23:34:51.512"/>
    <p1510:client id="{AF40870D-A18A-45AC-808D-808C64D407C9}" v="17" dt="2025-10-02T09:46:37.402"/>
    <p1510:client id="{CAE370FB-C3FB-4670-8655-3DA9B5EB65F2}" v="9" dt="2025-10-01T23:24:44.99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FD0F851-EC5A-4D38-B0AD-8093EC10F338}" styleName="Helle Formatvorlage 1 - Akz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1E171933-4619-4E11-9A3F-F7608DF75F80}" styleName="Mittlere Formatvorlage 1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AF606853-7671-496A-8E4F-DF71F8EC918B}" styleName="Dunkle Formatvorlage 1 - Akz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46F890A9-2807-4EBB-B81D-B2AA78EC7F39}" styleName="Dunkle Formatvorlage 2 - Akzent 5/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85BE263C-DBD7-4A20-BB59-AAB30ACAA65A}" styleName="Mittlere Formatvorlage 3 - 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912C8C85-51F0-491E-9774-3900AFEF0FD7}" styleName="Helle Formatvorlage 2 - Akz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2" autoAdjust="0"/>
    <p:restoredTop sz="94694"/>
  </p:normalViewPr>
  <p:slideViewPr>
    <p:cSldViewPr snapToObjects="1">
      <p:cViewPr varScale="1">
        <p:scale>
          <a:sx n="106" d="100"/>
          <a:sy n="106" d="100"/>
        </p:scale>
        <p:origin x="96" y="292"/>
      </p:cViewPr>
      <p:guideLst>
        <p:guide orient="horz" pos="2160"/>
        <p:guide pos="3840"/>
        <p:guide orient="horz" pos="543"/>
        <p:guide orient="horz" pos="1207"/>
        <p:guide orient="horz" pos="834"/>
        <p:guide orient="horz" pos="1525"/>
        <p:guide orient="horz" pos="4076"/>
        <p:guide orient="horz" pos="4180"/>
        <p:guide pos="596"/>
        <p:guide pos="7151"/>
        <p:guide orient="horz" pos="2704"/>
        <p:guide orient="horz" pos="3294"/>
        <p:guide orient="horz" pos="350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Objects="1">
      <p:cViewPr varScale="1">
        <p:scale>
          <a:sx n="84" d="100"/>
          <a:sy n="84" d="100"/>
        </p:scale>
        <p:origin x="2752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handoutMaster" Target="handoutMasters/handoutMaster1.xml"/><Relationship Id="rId3" Type="http://schemas.openxmlformats.org/officeDocument/2006/relationships/slideMaster" Target="slideMasters/slideMaster2.xml"/><Relationship Id="rId21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notesMaster" Target="notesMasters/notesMaster1.xml"/><Relationship Id="rId25" Type="http://schemas.microsoft.com/office/2015/10/relationships/revisionInfo" Target="revisionInfo.xml"/><Relationship Id="rId2" Type="http://schemas.openxmlformats.org/officeDocument/2006/relationships/slideMaster" Target="slideMasters/slideMaster1.xml"/><Relationship Id="rId16" Type="http://schemas.openxmlformats.org/officeDocument/2006/relationships/slide" Target="slides/slide13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microsoft.com/office/2016/11/relationships/changesInfo" Target="changesInfos/changesInfo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tags" Target="tags/tag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tonia Di Bella" userId="0d0f0d23-7463-4c57-aece-e1cbcf12d584" providerId="ADAL" clId="{84E7A3E2-09C9-4A16-B152-26E2B85BC6EE}"/>
    <pc:docChg chg="undo custSel addSld delSld modSld">
      <pc:chgData name="Antonia Di Bella" userId="0d0f0d23-7463-4c57-aece-e1cbcf12d584" providerId="ADAL" clId="{84E7A3E2-09C9-4A16-B152-26E2B85BC6EE}" dt="2025-10-02T09:47:55.808" v="491" actId="47"/>
      <pc:docMkLst>
        <pc:docMk/>
      </pc:docMkLst>
      <pc:sldChg chg="addSp modSp mod">
        <pc:chgData name="Antonia Di Bella" userId="0d0f0d23-7463-4c57-aece-e1cbcf12d584" providerId="ADAL" clId="{84E7A3E2-09C9-4A16-B152-26E2B85BC6EE}" dt="2025-10-02T09:13:40.911" v="134" actId="114"/>
        <pc:sldMkLst>
          <pc:docMk/>
          <pc:sldMk cId="0" sldId="273"/>
        </pc:sldMkLst>
        <pc:spChg chg="add mod">
          <ac:chgData name="Antonia Di Bella" userId="0d0f0d23-7463-4c57-aece-e1cbcf12d584" providerId="ADAL" clId="{84E7A3E2-09C9-4A16-B152-26E2B85BC6EE}" dt="2025-10-02T09:11:41.663" v="105" actId="20577"/>
          <ac:spMkLst>
            <pc:docMk/>
            <pc:sldMk cId="0" sldId="273"/>
            <ac:spMk id="2" creationId="{0870C46E-E08D-5175-50A1-8BCE5F99E8DC}"/>
          </ac:spMkLst>
        </pc:spChg>
        <pc:spChg chg="mod">
          <ac:chgData name="Antonia Di Bella" userId="0d0f0d23-7463-4c57-aece-e1cbcf12d584" providerId="ADAL" clId="{84E7A3E2-09C9-4A16-B152-26E2B85BC6EE}" dt="2025-10-02T09:11:54.896" v="133" actId="313"/>
          <ac:spMkLst>
            <pc:docMk/>
            <pc:sldMk cId="0" sldId="273"/>
            <ac:spMk id="33" creationId="{BD4331C6-7671-1D64-8CF3-8882AE74E6FF}"/>
          </ac:spMkLst>
        </pc:spChg>
        <pc:spChg chg="mod">
          <ac:chgData name="Antonia Di Bella" userId="0d0f0d23-7463-4c57-aece-e1cbcf12d584" providerId="ADAL" clId="{84E7A3E2-09C9-4A16-B152-26E2B85BC6EE}" dt="2025-10-02T09:08:15.383" v="36" actId="14100"/>
          <ac:spMkLst>
            <pc:docMk/>
            <pc:sldMk cId="0" sldId="273"/>
            <ac:spMk id="38" creationId="{12C21B66-AA0A-BA0F-B93C-66F3AD0F5B85}"/>
          </ac:spMkLst>
        </pc:spChg>
        <pc:spChg chg="mod">
          <ac:chgData name="Antonia Di Bella" userId="0d0f0d23-7463-4c57-aece-e1cbcf12d584" providerId="ADAL" clId="{84E7A3E2-09C9-4A16-B152-26E2B85BC6EE}" dt="2025-10-02T09:08:07.231" v="33" actId="14100"/>
          <ac:spMkLst>
            <pc:docMk/>
            <pc:sldMk cId="0" sldId="273"/>
            <ac:spMk id="70" creationId="{555F4318-BF55-29F2-D04C-90425FA424E1}"/>
          </ac:spMkLst>
        </pc:spChg>
        <pc:spChg chg="mod">
          <ac:chgData name="Antonia Di Bella" userId="0d0f0d23-7463-4c57-aece-e1cbcf12d584" providerId="ADAL" clId="{84E7A3E2-09C9-4A16-B152-26E2B85BC6EE}" dt="2025-10-02T09:06:48.007" v="15" actId="14100"/>
          <ac:spMkLst>
            <pc:docMk/>
            <pc:sldMk cId="0" sldId="273"/>
            <ac:spMk id="71" creationId="{FE2EB9CB-026E-261B-D46D-9C214157C2A8}"/>
          </ac:spMkLst>
        </pc:spChg>
        <pc:spChg chg="mod">
          <ac:chgData name="Antonia Di Bella" userId="0d0f0d23-7463-4c57-aece-e1cbcf12d584" providerId="ADAL" clId="{84E7A3E2-09C9-4A16-B152-26E2B85BC6EE}" dt="2025-10-02T09:07:19.783" v="22" actId="14100"/>
          <ac:spMkLst>
            <pc:docMk/>
            <pc:sldMk cId="0" sldId="273"/>
            <ac:spMk id="72" creationId="{EB113321-BFBB-4B28-B120-14467FFBC4ED}"/>
          </ac:spMkLst>
        </pc:spChg>
        <pc:spChg chg="mod">
          <ac:chgData name="Antonia Di Bella" userId="0d0f0d23-7463-4c57-aece-e1cbcf12d584" providerId="ADAL" clId="{84E7A3E2-09C9-4A16-B152-26E2B85BC6EE}" dt="2025-10-02T09:07:47.907" v="27" actId="14100"/>
          <ac:spMkLst>
            <pc:docMk/>
            <pc:sldMk cId="0" sldId="273"/>
            <ac:spMk id="73" creationId="{6CD6ABA0-6C19-A43C-1EA3-49A2DFA58EC8}"/>
          </ac:spMkLst>
        </pc:spChg>
        <pc:spChg chg="mod">
          <ac:chgData name="Antonia Di Bella" userId="0d0f0d23-7463-4c57-aece-e1cbcf12d584" providerId="ADAL" clId="{84E7A3E2-09C9-4A16-B152-26E2B85BC6EE}" dt="2025-10-02T09:13:40.911" v="134" actId="114"/>
          <ac:spMkLst>
            <pc:docMk/>
            <pc:sldMk cId="0" sldId="273"/>
            <ac:spMk id="74" creationId="{40CA5CEF-7AE4-8A7A-6B8E-12D0BC65405A}"/>
          </ac:spMkLst>
        </pc:spChg>
        <pc:spChg chg="mod">
          <ac:chgData name="Antonia Di Bella" userId="0d0f0d23-7463-4c57-aece-e1cbcf12d584" providerId="ADAL" clId="{84E7A3E2-09C9-4A16-B152-26E2B85BC6EE}" dt="2025-10-02T09:07:57.416" v="31" actId="27636"/>
          <ac:spMkLst>
            <pc:docMk/>
            <pc:sldMk cId="0" sldId="273"/>
            <ac:spMk id="75" creationId="{3347F570-0747-06CE-5613-688993B6D3B4}"/>
          </ac:spMkLst>
        </pc:spChg>
      </pc:sldChg>
      <pc:sldChg chg="modSp mod">
        <pc:chgData name="Antonia Di Bella" userId="0d0f0d23-7463-4c57-aece-e1cbcf12d584" providerId="ADAL" clId="{84E7A3E2-09C9-4A16-B152-26E2B85BC6EE}" dt="2025-10-02T09:13:56.066" v="137" actId="20577"/>
        <pc:sldMkLst>
          <pc:docMk/>
          <pc:sldMk cId="0" sldId="2147475402"/>
        </pc:sldMkLst>
        <pc:spChg chg="mod">
          <ac:chgData name="Antonia Di Bella" userId="0d0f0d23-7463-4c57-aece-e1cbcf12d584" providerId="ADAL" clId="{84E7A3E2-09C9-4A16-B152-26E2B85BC6EE}" dt="2025-10-02T09:13:56.066" v="137" actId="20577"/>
          <ac:spMkLst>
            <pc:docMk/>
            <pc:sldMk cId="0" sldId="2147475402"/>
            <ac:spMk id="8" creationId="{00000000-0000-0000-0000-000000000000}"/>
          </ac:spMkLst>
        </pc:spChg>
      </pc:sldChg>
      <pc:sldChg chg="delSp modSp mod">
        <pc:chgData name="Antonia Di Bella" userId="0d0f0d23-7463-4c57-aece-e1cbcf12d584" providerId="ADAL" clId="{84E7A3E2-09C9-4A16-B152-26E2B85BC6EE}" dt="2025-10-02T09:19:58.536" v="168" actId="208"/>
        <pc:sldMkLst>
          <pc:docMk/>
          <pc:sldMk cId="32167404" sldId="2147475403"/>
        </pc:sldMkLst>
        <pc:spChg chg="mod">
          <ac:chgData name="Antonia Di Bella" userId="0d0f0d23-7463-4c57-aece-e1cbcf12d584" providerId="ADAL" clId="{84E7A3E2-09C9-4A16-B152-26E2B85BC6EE}" dt="2025-10-02T09:19:58.536" v="168" actId="208"/>
          <ac:spMkLst>
            <pc:docMk/>
            <pc:sldMk cId="32167404" sldId="2147475403"/>
            <ac:spMk id="14" creationId="{4EB86E9E-69FC-03F7-0255-DC5918AAE209}"/>
          </ac:spMkLst>
        </pc:spChg>
        <pc:spChg chg="del">
          <ac:chgData name="Antonia Di Bella" userId="0d0f0d23-7463-4c57-aece-e1cbcf12d584" providerId="ADAL" clId="{84E7A3E2-09C9-4A16-B152-26E2B85BC6EE}" dt="2025-10-02T09:19:01.083" v="162" actId="478"/>
          <ac:spMkLst>
            <pc:docMk/>
            <pc:sldMk cId="32167404" sldId="2147475403"/>
            <ac:spMk id="18" creationId="{EC5A6F86-55F0-1658-DD42-57E9951B5E76}"/>
          </ac:spMkLst>
        </pc:spChg>
        <pc:spChg chg="del">
          <ac:chgData name="Antonia Di Bella" userId="0d0f0d23-7463-4c57-aece-e1cbcf12d584" providerId="ADAL" clId="{84E7A3E2-09C9-4A16-B152-26E2B85BC6EE}" dt="2025-10-02T09:18:58.940" v="161" actId="478"/>
          <ac:spMkLst>
            <pc:docMk/>
            <pc:sldMk cId="32167404" sldId="2147475403"/>
            <ac:spMk id="19" creationId="{0C60BD5D-9AE6-C278-D5B5-5D6801C9AA1C}"/>
          </ac:spMkLst>
        </pc:spChg>
        <pc:spChg chg="del">
          <ac:chgData name="Antonia Di Bella" userId="0d0f0d23-7463-4c57-aece-e1cbcf12d584" providerId="ADAL" clId="{84E7A3E2-09C9-4A16-B152-26E2B85BC6EE}" dt="2025-10-02T09:19:03.527" v="163" actId="478"/>
          <ac:spMkLst>
            <pc:docMk/>
            <pc:sldMk cId="32167404" sldId="2147475403"/>
            <ac:spMk id="22" creationId="{E4C51D17-C361-2DFC-3CFE-38C1E2CFE8AA}"/>
          </ac:spMkLst>
        </pc:spChg>
        <pc:spChg chg="del mod">
          <ac:chgData name="Antonia Di Bella" userId="0d0f0d23-7463-4c57-aece-e1cbcf12d584" providerId="ADAL" clId="{84E7A3E2-09C9-4A16-B152-26E2B85BC6EE}" dt="2025-10-02T09:19:08.498" v="165" actId="478"/>
          <ac:spMkLst>
            <pc:docMk/>
            <pc:sldMk cId="32167404" sldId="2147475403"/>
            <ac:spMk id="23" creationId="{A6F6F2F9-CDFA-70FE-8D84-40CDD881D065}"/>
          </ac:spMkLst>
        </pc:spChg>
        <pc:spChg chg="mod">
          <ac:chgData name="Antonia Di Bella" userId="0d0f0d23-7463-4c57-aece-e1cbcf12d584" providerId="ADAL" clId="{84E7A3E2-09C9-4A16-B152-26E2B85BC6EE}" dt="2025-10-02T09:18:12.861" v="156" actId="20577"/>
          <ac:spMkLst>
            <pc:docMk/>
            <pc:sldMk cId="32167404" sldId="2147475403"/>
            <ac:spMk id="33" creationId="{32766E56-212C-0960-C9CB-56F57E6D552C}"/>
          </ac:spMkLst>
        </pc:spChg>
        <pc:spChg chg="mod">
          <ac:chgData name="Antonia Di Bella" userId="0d0f0d23-7463-4c57-aece-e1cbcf12d584" providerId="ADAL" clId="{84E7A3E2-09C9-4A16-B152-26E2B85BC6EE}" dt="2025-10-02T09:19:26.406" v="167" actId="20577"/>
          <ac:spMkLst>
            <pc:docMk/>
            <pc:sldMk cId="32167404" sldId="2147475403"/>
            <ac:spMk id="41" creationId="{5BC9BC6D-5153-DD1D-CA26-3FE037E0ED3F}"/>
          </ac:spMkLst>
        </pc:spChg>
        <pc:spChg chg="del">
          <ac:chgData name="Antonia Di Bella" userId="0d0f0d23-7463-4c57-aece-e1cbcf12d584" providerId="ADAL" clId="{84E7A3E2-09C9-4A16-B152-26E2B85BC6EE}" dt="2025-10-02T09:18:42.338" v="157" actId="478"/>
          <ac:spMkLst>
            <pc:docMk/>
            <pc:sldMk cId="32167404" sldId="2147475403"/>
            <ac:spMk id="44" creationId="{48E76F8B-7A24-33B2-850F-131E23CA59D0}"/>
          </ac:spMkLst>
        </pc:spChg>
        <pc:spChg chg="del">
          <ac:chgData name="Antonia Di Bella" userId="0d0f0d23-7463-4c57-aece-e1cbcf12d584" providerId="ADAL" clId="{84E7A3E2-09C9-4A16-B152-26E2B85BC6EE}" dt="2025-10-02T09:18:53.338" v="159" actId="478"/>
          <ac:spMkLst>
            <pc:docMk/>
            <pc:sldMk cId="32167404" sldId="2147475403"/>
            <ac:spMk id="46" creationId="{EDA2295F-84BB-9BBA-7897-FE5BC84EFD3D}"/>
          </ac:spMkLst>
        </pc:spChg>
        <pc:spChg chg="del">
          <ac:chgData name="Antonia Di Bella" userId="0d0f0d23-7463-4c57-aece-e1cbcf12d584" providerId="ADAL" clId="{84E7A3E2-09C9-4A16-B152-26E2B85BC6EE}" dt="2025-10-02T09:18:55.981" v="160" actId="478"/>
          <ac:spMkLst>
            <pc:docMk/>
            <pc:sldMk cId="32167404" sldId="2147475403"/>
            <ac:spMk id="47" creationId="{79CD46A0-6DDA-27D0-0308-6BFC18D09CC6}"/>
          </ac:spMkLst>
        </pc:spChg>
        <pc:spChg chg="del">
          <ac:chgData name="Antonia Di Bella" userId="0d0f0d23-7463-4c57-aece-e1cbcf12d584" providerId="ADAL" clId="{84E7A3E2-09C9-4A16-B152-26E2B85BC6EE}" dt="2025-10-02T09:18:50.790" v="158" actId="478"/>
          <ac:spMkLst>
            <pc:docMk/>
            <pc:sldMk cId="32167404" sldId="2147475403"/>
            <ac:spMk id="48" creationId="{D202BF9E-5150-C827-F0D8-443144D17F47}"/>
          </ac:spMkLst>
        </pc:spChg>
      </pc:sldChg>
      <pc:sldChg chg="modSp add del mod">
        <pc:chgData name="Antonia Di Bella" userId="0d0f0d23-7463-4c57-aece-e1cbcf12d584" providerId="ADAL" clId="{84E7A3E2-09C9-4A16-B152-26E2B85BC6EE}" dt="2025-10-02T09:13:45.340" v="135" actId="47"/>
        <pc:sldMkLst>
          <pc:docMk/>
          <pc:sldMk cId="1207395577" sldId="2147475404"/>
        </pc:sldMkLst>
        <pc:spChg chg="mod">
          <ac:chgData name="Antonia Di Bella" userId="0d0f0d23-7463-4c57-aece-e1cbcf12d584" providerId="ADAL" clId="{84E7A3E2-09C9-4A16-B152-26E2B85BC6EE}" dt="2025-10-02T09:05:48.563" v="8" actId="27636"/>
          <ac:spMkLst>
            <pc:docMk/>
            <pc:sldMk cId="1207395577" sldId="2147475404"/>
            <ac:spMk id="33" creationId="{16DC413E-1CE6-8439-191E-55FA797AEB62}"/>
          </ac:spMkLst>
        </pc:spChg>
      </pc:sldChg>
      <pc:sldChg chg="add del">
        <pc:chgData name="Antonia Di Bella" userId="0d0f0d23-7463-4c57-aece-e1cbcf12d584" providerId="ADAL" clId="{84E7A3E2-09C9-4A16-B152-26E2B85BC6EE}" dt="2025-10-02T09:39:46.256" v="172" actId="47"/>
        <pc:sldMkLst>
          <pc:docMk/>
          <pc:sldMk cId="3461754198" sldId="2147475421"/>
        </pc:sldMkLst>
      </pc:sldChg>
      <pc:sldChg chg="addSp modSp add mod">
        <pc:chgData name="Antonia Di Bella" userId="0d0f0d23-7463-4c57-aece-e1cbcf12d584" providerId="ADAL" clId="{84E7A3E2-09C9-4A16-B152-26E2B85BC6EE}" dt="2025-10-02T09:45:38.548" v="467" actId="20577"/>
        <pc:sldMkLst>
          <pc:docMk/>
          <pc:sldMk cId="4140507558" sldId="2147475422"/>
        </pc:sldMkLst>
        <pc:spChg chg="add mod">
          <ac:chgData name="Antonia Di Bella" userId="0d0f0d23-7463-4c57-aece-e1cbcf12d584" providerId="ADAL" clId="{84E7A3E2-09C9-4A16-B152-26E2B85BC6EE}" dt="2025-10-02T09:43:11.969" v="310" actId="14100"/>
          <ac:spMkLst>
            <pc:docMk/>
            <pc:sldMk cId="4140507558" sldId="2147475422"/>
            <ac:spMk id="2" creationId="{65203315-4D95-A5A3-BA04-A9F30900496A}"/>
          </ac:spMkLst>
        </pc:spChg>
        <pc:spChg chg="mod">
          <ac:chgData name="Antonia Di Bella" userId="0d0f0d23-7463-4c57-aece-e1cbcf12d584" providerId="ADAL" clId="{84E7A3E2-09C9-4A16-B152-26E2B85BC6EE}" dt="2025-10-02T09:45:38.548" v="467" actId="20577"/>
          <ac:spMkLst>
            <pc:docMk/>
            <pc:sldMk cId="4140507558" sldId="2147475422"/>
            <ac:spMk id="3" creationId="{061B36A4-4E85-76C9-6E1B-4ACF7404F342}"/>
          </ac:spMkLst>
        </pc:spChg>
      </pc:sldChg>
      <pc:sldChg chg="new del">
        <pc:chgData name="Antonia Di Bella" userId="0d0f0d23-7463-4c57-aece-e1cbcf12d584" providerId="ADAL" clId="{84E7A3E2-09C9-4A16-B152-26E2B85BC6EE}" dt="2025-10-02T09:39:43.608" v="171" actId="680"/>
        <pc:sldMkLst>
          <pc:docMk/>
          <pc:sldMk cId="193448794" sldId="2147475423"/>
        </pc:sldMkLst>
      </pc:sldChg>
      <pc:sldChg chg="add del">
        <pc:chgData name="Antonia Di Bella" userId="0d0f0d23-7463-4c57-aece-e1cbcf12d584" providerId="ADAL" clId="{84E7A3E2-09C9-4A16-B152-26E2B85BC6EE}" dt="2025-10-02T09:47:55.808" v="491" actId="47"/>
        <pc:sldMkLst>
          <pc:docMk/>
          <pc:sldMk cId="1248082234" sldId="2147475423"/>
        </pc:sldMkLst>
      </pc:sldChg>
      <pc:sldChg chg="addSp delSp modSp add del mod">
        <pc:chgData name="Antonia Di Bella" userId="0d0f0d23-7463-4c57-aece-e1cbcf12d584" providerId="ADAL" clId="{84E7A3E2-09C9-4A16-B152-26E2B85BC6EE}" dt="2025-10-02T09:47:51.975" v="490" actId="47"/>
        <pc:sldMkLst>
          <pc:docMk/>
          <pc:sldMk cId="2288508203" sldId="2147475424"/>
        </pc:sldMkLst>
        <pc:spChg chg="del">
          <ac:chgData name="Antonia Di Bella" userId="0d0f0d23-7463-4c57-aece-e1cbcf12d584" providerId="ADAL" clId="{84E7A3E2-09C9-4A16-B152-26E2B85BC6EE}" dt="2025-10-02T09:46:37.402" v="473" actId="478"/>
          <ac:spMkLst>
            <pc:docMk/>
            <pc:sldMk cId="2288508203" sldId="2147475424"/>
            <ac:spMk id="3" creationId="{320750A0-2148-0C20-046B-42B4EFF1AECA}"/>
          </ac:spMkLst>
        </pc:spChg>
        <pc:spChg chg="add mod">
          <ac:chgData name="Antonia Di Bella" userId="0d0f0d23-7463-4c57-aece-e1cbcf12d584" providerId="ADAL" clId="{84E7A3E2-09C9-4A16-B152-26E2B85BC6EE}" dt="2025-10-02T09:47:09.066" v="483" actId="20577"/>
          <ac:spMkLst>
            <pc:docMk/>
            <pc:sldMk cId="2288508203" sldId="2147475424"/>
            <ac:spMk id="4" creationId="{737B36F2-56BD-EB5D-D385-A02421CF3521}"/>
          </ac:spMkLst>
        </pc:spChg>
      </pc:sldChg>
      <pc:sldChg chg="addSp modSp add mod">
        <pc:chgData name="Antonia Di Bella" userId="0d0f0d23-7463-4c57-aece-e1cbcf12d584" providerId="ADAL" clId="{84E7A3E2-09C9-4A16-B152-26E2B85BC6EE}" dt="2025-10-02T09:47:49.200" v="489" actId="113"/>
        <pc:sldMkLst>
          <pc:docMk/>
          <pc:sldMk cId="3264630809" sldId="2147475425"/>
        </pc:sldMkLst>
        <pc:spChg chg="mod">
          <ac:chgData name="Antonia Di Bella" userId="0d0f0d23-7463-4c57-aece-e1cbcf12d584" providerId="ADAL" clId="{84E7A3E2-09C9-4A16-B152-26E2B85BC6EE}" dt="2025-10-02T09:46:25.041" v="470" actId="20577"/>
          <ac:spMkLst>
            <pc:docMk/>
            <pc:sldMk cId="3264630809" sldId="2147475425"/>
            <ac:spMk id="3" creationId="{757F6F0B-65D1-F201-D3EE-92393AF9C089}"/>
          </ac:spMkLst>
        </pc:spChg>
        <pc:spChg chg="add mod">
          <ac:chgData name="Antonia Di Bella" userId="0d0f0d23-7463-4c57-aece-e1cbcf12d584" providerId="ADAL" clId="{84E7A3E2-09C9-4A16-B152-26E2B85BC6EE}" dt="2025-10-02T09:47:49.200" v="489" actId="113"/>
          <ac:spMkLst>
            <pc:docMk/>
            <pc:sldMk cId="3264630809" sldId="2147475425"/>
            <ac:spMk id="5" creationId="{8FA5B08F-27CD-D000-2F1B-41D5DFEDD24E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516B82DA-BFC1-9844-933B-5BF0E30540F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057E07B-9AE2-5E4B-9E78-7937481B404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158C18-91E2-D948-B6CE-ADDD5AFD4E39}" type="datetimeFigureOut">
              <a:rPr lang="en-US" smtClean="0"/>
              <a:t>10/2/2025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CD3469D-2BFD-5141-B498-22B8CB4C657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7582557-2525-8F49-8D86-483C3E34F61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BAD454-0D75-6542-9960-19918ED3A254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11975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07A1F2-E4B7-A347-90A9-C3E2D89D0D04}" type="datetimeFigureOut">
              <a:rPr lang="en-US" smtClean="0"/>
              <a:t>10/2/2025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044C3E2-8633-3742-97C6-3410CE8FC824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36876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465138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3707904"/>
            <a:ext cx="5486400" cy="4970958"/>
          </a:xfrm>
        </p:spPr>
        <p:txBody>
          <a:bodyPr/>
          <a:lstStyle/>
          <a:p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44C3E2-8633-3742-97C6-3410CE8FC82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98518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1">
            <a:extLst>
              <a:ext uri="{FF2B5EF4-FFF2-40B4-BE49-F238E27FC236}">
                <a16:creationId xmlns:a16="http://schemas.microsoft.com/office/drawing/2014/main" id="{CE778C7D-267C-3F44-9ECF-1822E2B83C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748404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>
              <a:defRPr sz="3400" b="1" i="0" cap="all" baseline="0">
                <a:solidFill>
                  <a:schemeClr val="tx2"/>
                </a:solidFill>
                <a:latin typeface="Verdana" panose="020B0604030504040204" pitchFamily="34" charset="0"/>
              </a:defRPr>
            </a:lvl1pPr>
          </a:lstStyle>
          <a:p>
            <a:r>
              <a:rPr lang="de-DE" dirty="0"/>
              <a:t>ADDRESSE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050A9C1-A0B6-0A4A-B1CD-8A07E16C572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5073968"/>
            <a:ext cx="10515600" cy="10029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OUR OFFER</a:t>
            </a:r>
          </a:p>
          <a:p>
            <a:pPr lvl="0"/>
            <a:r>
              <a:rPr lang="de-DE" dirty="0"/>
              <a:t>DATE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E5FA8745-B648-6140-AC16-105419D3C9F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1653" y="1070512"/>
            <a:ext cx="3291794" cy="667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2601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_SLIDE_RE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76FE84AE-B42D-BA45-AD05-00EF2C5E6E69}"/>
              </a:ext>
            </a:extLst>
          </p:cNvPr>
          <p:cNvSpPr txBox="1"/>
          <p:nvPr userDrawn="1"/>
        </p:nvSpPr>
        <p:spPr>
          <a:xfrm>
            <a:off x="845716" y="5850000"/>
            <a:ext cx="770802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noProof="0" dirty="0">
                <a:solidFill>
                  <a:schemeClr val="bg1"/>
                </a:solidFill>
              </a:rPr>
              <a:t>BEIJING | BERLIN | BRUSSELS | DUSSELDORF | FRANKFURT | HAMBURG </a:t>
            </a:r>
            <a:br>
              <a:rPr lang="en-US" sz="1100" noProof="0" dirty="0">
                <a:solidFill>
                  <a:schemeClr val="bg1"/>
                </a:solidFill>
              </a:rPr>
            </a:br>
            <a:r>
              <a:rPr lang="en-US" sz="1100" noProof="0" dirty="0">
                <a:solidFill>
                  <a:schemeClr val="bg1"/>
                </a:solidFill>
              </a:rPr>
              <a:t>LONDON | MILAN | MOSCOW | MUNICH | PARIS | ROME | SHANGHAI</a:t>
            </a:r>
          </a:p>
          <a:p>
            <a:endParaRPr lang="en-US" sz="1100" dirty="0">
              <a:solidFill>
                <a:schemeClr val="bg1"/>
              </a:solidFill>
            </a:endParaRPr>
          </a:p>
          <a:p>
            <a:r>
              <a:rPr lang="en-US" sz="1700" b="1" dirty="0">
                <a:solidFill>
                  <a:schemeClr val="bg1"/>
                </a:solidFill>
              </a:rPr>
              <a:t>ADVANT-NCTM.COM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AC6C34C6-610E-864D-8D00-300A8E3BBE0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1653" y="1070512"/>
            <a:ext cx="3291793" cy="667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0931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600" b="1" i="0">
                <a:solidFill>
                  <a:schemeClr val="tx1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865"/>
              </a:lnSpc>
            </a:pPr>
            <a:r>
              <a:rPr dirty="0"/>
              <a:t>©</a:t>
            </a:r>
            <a:r>
              <a:rPr spc="-25" dirty="0"/>
              <a:t> </a:t>
            </a:r>
            <a:r>
              <a:rPr dirty="0"/>
              <a:t>Oliver</a:t>
            </a:r>
            <a:r>
              <a:rPr spc="-5" dirty="0"/>
              <a:t> </a:t>
            </a:r>
            <a:r>
              <a:rPr spc="-10" dirty="0"/>
              <a:t>Wyman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2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101600">
              <a:lnSpc>
                <a:spcPts val="1045"/>
              </a:lnSpc>
            </a:pPr>
            <a:fld id="{81D60167-4931-47E6-BA6A-407CBD079E47}" type="slidenum">
              <a:rPr spc="-50" dirty="0"/>
              <a:t>‹N›</a:t>
            </a:fld>
            <a:endParaRPr spc="-50" dirty="0"/>
          </a:p>
        </p:txBody>
      </p:sp>
    </p:spTree>
    <p:extLst>
      <p:ext uri="{BB962C8B-B14F-4D97-AF65-F5344CB8AC3E}">
        <p14:creationId xmlns:p14="http://schemas.microsoft.com/office/powerpoint/2010/main" val="31851231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333" b="0" i="0">
                <a:solidFill>
                  <a:srgbClr val="0078D6"/>
                </a:solidFill>
                <a:latin typeface="Calibri"/>
                <a:cs typeface="Calibri"/>
              </a:defRPr>
            </a:lvl1pPr>
          </a:lstStyle>
          <a:p>
            <a:pPr marL="16933">
              <a:lnSpc>
                <a:spcPts val="1400"/>
              </a:lnSpc>
            </a:pPr>
            <a:r>
              <a:rPr lang="it-IT" spc="-13"/>
              <a:t>Classification</a:t>
            </a:r>
            <a:r>
              <a:rPr lang="it-IT" spc="33"/>
              <a:t> </a:t>
            </a:r>
            <a:r>
              <a:rPr lang="it-IT"/>
              <a:t>:</a:t>
            </a:r>
            <a:r>
              <a:rPr lang="it-IT" spc="47"/>
              <a:t> </a:t>
            </a:r>
            <a:r>
              <a:rPr lang="it-IT" spc="-13"/>
              <a:t>Internal</a:t>
            </a:r>
            <a:endParaRPr lang="it-IT" spc="-13"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2/2025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656963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_2.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A505BB84-3B29-674C-B7E9-F1BA1C6EC0BE}"/>
              </a:ext>
            </a:extLst>
          </p:cNvPr>
          <p:cNvGrpSpPr/>
          <p:nvPr userDrawn="1"/>
        </p:nvGrpSpPr>
        <p:grpSpPr>
          <a:xfrm>
            <a:off x="7056150" y="0"/>
            <a:ext cx="5135850" cy="6858000"/>
            <a:chOff x="7056150" y="0"/>
            <a:chExt cx="5135850" cy="6858000"/>
          </a:xfrm>
        </p:grpSpPr>
        <p:sp>
          <p:nvSpPr>
            <p:cNvPr id="2" name="Rechteck 1">
              <a:extLst>
                <a:ext uri="{FF2B5EF4-FFF2-40B4-BE49-F238E27FC236}">
                  <a16:creationId xmlns:a16="http://schemas.microsoft.com/office/drawing/2014/main" id="{59637B85-BBCA-F84E-8464-1A31082EC58C}"/>
                </a:ext>
              </a:extLst>
            </p:cNvPr>
            <p:cNvSpPr/>
            <p:nvPr userDrawn="1"/>
          </p:nvSpPr>
          <p:spPr>
            <a:xfrm>
              <a:off x="9987280" y="0"/>
              <a:ext cx="2204720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/>
            </a:p>
          </p:txBody>
        </p:sp>
        <p:sp>
          <p:nvSpPr>
            <p:cNvPr id="5" name="Rechtwinkliges Dreieck 4">
              <a:extLst>
                <a:ext uri="{FF2B5EF4-FFF2-40B4-BE49-F238E27FC236}">
                  <a16:creationId xmlns:a16="http://schemas.microsoft.com/office/drawing/2014/main" id="{764A4AC0-DBC0-6842-9099-2C7B77549F02}"/>
                </a:ext>
              </a:extLst>
            </p:cNvPr>
            <p:cNvSpPr/>
            <p:nvPr userDrawn="1"/>
          </p:nvSpPr>
          <p:spPr>
            <a:xfrm flipH="1">
              <a:off x="7056150" y="0"/>
              <a:ext cx="2931126" cy="6858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/>
            </a:p>
          </p:txBody>
        </p:sp>
      </p:grpSp>
      <p:pic>
        <p:nvPicPr>
          <p:cNvPr id="10" name="Grafik 9">
            <a:extLst>
              <a:ext uri="{FF2B5EF4-FFF2-40B4-BE49-F238E27FC236}">
                <a16:creationId xmlns:a16="http://schemas.microsoft.com/office/drawing/2014/main" id="{8A3B7152-B236-1D44-8112-6A693639548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  <p:sp>
        <p:nvSpPr>
          <p:cNvPr id="8" name="Titelplatzhalter 1">
            <a:extLst>
              <a:ext uri="{FF2B5EF4-FFF2-40B4-BE49-F238E27FC236}">
                <a16:creationId xmlns:a16="http://schemas.microsoft.com/office/drawing/2014/main" id="{9A3790C6-13CD-9544-A9AF-369234F4E0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044868"/>
            <a:ext cx="6289849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>
              <a:defRPr lang="en-GB" sz="3400" b="1" i="0" cap="all" baseline="0" noProof="0">
                <a:solidFill>
                  <a:schemeClr val="tx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GB" noProof="0"/>
              <a:t>CHAPTER TITLE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342D45E-045D-A445-A631-400092D1EFA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3399007"/>
            <a:ext cx="6289849" cy="1056323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Tx/>
              <a:buNone/>
              <a:defRPr lang="en-GB" sz="2400" cap="all" baseline="0" noProof="0">
                <a:solidFill>
                  <a:schemeClr val="bg2"/>
                </a:solidFill>
              </a:defRPr>
            </a:lvl1pPr>
          </a:lstStyle>
          <a:p>
            <a:pPr marL="0" lvl="0" indent="0">
              <a:buFontTx/>
              <a:buNone/>
            </a:pPr>
            <a:r>
              <a:rPr lang="en-GB" noProof="0"/>
              <a:t>SUBTITLE LOREM IPSUM</a:t>
            </a:r>
          </a:p>
        </p:txBody>
      </p:sp>
    </p:spTree>
    <p:extLst>
      <p:ext uri="{BB962C8B-B14F-4D97-AF65-F5344CB8AC3E}">
        <p14:creationId xmlns:p14="http://schemas.microsoft.com/office/powerpoint/2010/main" val="31385069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LL_ADVANT_OFFICE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>
            <a:extLst>
              <a:ext uri="{FF2B5EF4-FFF2-40B4-BE49-F238E27FC236}">
                <a16:creationId xmlns:a16="http://schemas.microsoft.com/office/drawing/2014/main" id="{40F16ABB-7131-1949-B947-7B715D905BD4}"/>
              </a:ext>
            </a:extLst>
          </p:cNvPr>
          <p:cNvSpPr txBox="1"/>
          <p:nvPr userDrawn="1"/>
        </p:nvSpPr>
        <p:spPr>
          <a:xfrm>
            <a:off x="838800" y="540000"/>
            <a:ext cx="10515600" cy="522000"/>
          </a:xfrm>
          <a:prstGeom prst="rect">
            <a:avLst/>
          </a:prstGeom>
        </p:spPr>
        <p:txBody>
          <a:bodyPr vert="horz" lIns="90000" tIns="45720" rIns="91440" bIns="45720" rtlCol="0" anchor="t">
            <a:no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400" b="1" i="0" cap="all" baseline="0">
                <a:solidFill>
                  <a:schemeClr val="tx2"/>
                </a:solidFill>
                <a:latin typeface="Verdana" panose="020B0604030504040204" pitchFamily="34" charset="0"/>
                <a:ea typeface="+mj-ea"/>
                <a:cs typeface="Verdana" panose="020B0604030504040204" pitchFamily="34" charset="0"/>
              </a:defRPr>
            </a:lvl1pPr>
          </a:lstStyle>
          <a:p>
            <a:pPr lvl="0"/>
            <a:r>
              <a:rPr lang="en-GB" noProof="0" dirty="0"/>
              <a:t>ADVANT MEMBER FIRM offices</a:t>
            </a:r>
            <a:endParaRPr lang="it-IT" dirty="0"/>
          </a:p>
        </p:txBody>
      </p:sp>
      <p:pic>
        <p:nvPicPr>
          <p:cNvPr id="18" name="Grafik 24">
            <a:extLst>
              <a:ext uri="{FF2B5EF4-FFF2-40B4-BE49-F238E27FC236}">
                <a16:creationId xmlns:a16="http://schemas.microsoft.com/office/drawing/2014/main" id="{115E2296-E996-0644-9430-C32D4734B80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  <p:sp>
        <p:nvSpPr>
          <p:cNvPr id="19" name="Foliennummernplatzhalter 2">
            <a:extLst>
              <a:ext uri="{FF2B5EF4-FFF2-40B4-BE49-F238E27FC236}">
                <a16:creationId xmlns:a16="http://schemas.microsoft.com/office/drawing/2014/main" id="{16F8AF35-0A65-1937-A5DD-33B29B8349F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56844" y="6398000"/>
            <a:ext cx="396355" cy="365125"/>
          </a:xfrm>
        </p:spPr>
        <p:txBody>
          <a:bodyPr/>
          <a:lstStyle/>
          <a:p>
            <a:fld id="{EC149C93-043E-1946-99C3-1562491FBCE9}" type="slidenum">
              <a:rPr lang="en-GB" noProof="0" smtClean="0"/>
              <a:pPr/>
              <a:t>‹N›</a:t>
            </a:fld>
            <a:endParaRPr lang="en-GB" noProof="0" dirty="0"/>
          </a:p>
        </p:txBody>
      </p:sp>
      <p:sp>
        <p:nvSpPr>
          <p:cNvPr id="3" name="Textfeld 22">
            <a:extLst>
              <a:ext uri="{FF2B5EF4-FFF2-40B4-BE49-F238E27FC236}">
                <a16:creationId xmlns:a16="http://schemas.microsoft.com/office/drawing/2014/main" id="{04E0A903-3B71-E16C-3C89-0541E59EED42}"/>
              </a:ext>
            </a:extLst>
          </p:cNvPr>
          <p:cNvSpPr txBox="1"/>
          <p:nvPr userDrawn="1"/>
        </p:nvSpPr>
        <p:spPr>
          <a:xfrm>
            <a:off x="8663286" y="3716076"/>
            <a:ext cx="2562203" cy="12782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AC1938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HANGHAI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oom</a:t>
            </a: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4102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ong Kong New World Tower 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o</a:t>
            </a: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300 </a:t>
            </a:r>
            <a:r>
              <a:rPr kumimoji="0" lang="de-DE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iddle</a:t>
            </a: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de-DE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uaihai</a:t>
            </a: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Road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00032 Shanghai Shi, China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hanghai@advant-nctm.com</a:t>
            </a: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+86 21 60906337</a:t>
            </a:r>
          </a:p>
        </p:txBody>
      </p:sp>
      <p:sp>
        <p:nvSpPr>
          <p:cNvPr id="20" name="Textfeld 24">
            <a:extLst>
              <a:ext uri="{FF2B5EF4-FFF2-40B4-BE49-F238E27FC236}">
                <a16:creationId xmlns:a16="http://schemas.microsoft.com/office/drawing/2014/main" id="{2D4DB0D0-5608-C096-B4C4-18A6F0715DBF}"/>
              </a:ext>
            </a:extLst>
          </p:cNvPr>
          <p:cNvSpPr txBox="1"/>
          <p:nvPr userDrawn="1"/>
        </p:nvSpPr>
        <p:spPr>
          <a:xfrm>
            <a:off x="8649736" y="2534615"/>
            <a:ext cx="2562203" cy="9448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AC1938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OME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Via delle Quattro Fontane 161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00187 </a:t>
            </a:r>
            <a:r>
              <a:rPr kumimoji="0" lang="de-DE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ome</a:t>
            </a: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de-DE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taly</a:t>
            </a: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ome@advant-nctm.com</a:t>
            </a: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+39 06 6784977</a:t>
            </a:r>
          </a:p>
        </p:txBody>
      </p:sp>
      <p:sp>
        <p:nvSpPr>
          <p:cNvPr id="21" name="Textfeld 25">
            <a:extLst>
              <a:ext uri="{FF2B5EF4-FFF2-40B4-BE49-F238E27FC236}">
                <a16:creationId xmlns:a16="http://schemas.microsoft.com/office/drawing/2014/main" id="{6CC42A24-AB53-30B2-6BD8-738ECA80F0C4}"/>
              </a:ext>
            </a:extLst>
          </p:cNvPr>
          <p:cNvSpPr txBox="1"/>
          <p:nvPr userDrawn="1"/>
        </p:nvSpPr>
        <p:spPr>
          <a:xfrm>
            <a:off x="8663286" y="1332405"/>
            <a:ext cx="2562203" cy="9680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AC1938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ARIS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45 Rue de Tocqueville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75017 Paris, France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aris@advant-altana.com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+33 (0)1 79 97 93 00</a:t>
            </a:r>
          </a:p>
        </p:txBody>
      </p:sp>
      <p:sp>
        <p:nvSpPr>
          <p:cNvPr id="22" name="Textfeld 26">
            <a:extLst>
              <a:ext uri="{FF2B5EF4-FFF2-40B4-BE49-F238E27FC236}">
                <a16:creationId xmlns:a16="http://schemas.microsoft.com/office/drawing/2014/main" id="{1E79F891-200B-F918-75BC-11DA00D46FFC}"/>
              </a:ext>
            </a:extLst>
          </p:cNvPr>
          <p:cNvSpPr txBox="1"/>
          <p:nvPr userDrawn="1"/>
        </p:nvSpPr>
        <p:spPr>
          <a:xfrm>
            <a:off x="6087533" y="4886289"/>
            <a:ext cx="2562203" cy="9448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AC1938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UNICH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Ganghoferstrasse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33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80339 Munich, Germany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unich@advant-beiten.com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</a:t>
            </a: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+49 89 35065-0</a:t>
            </a:r>
          </a:p>
        </p:txBody>
      </p:sp>
      <p:sp>
        <p:nvSpPr>
          <p:cNvPr id="23" name="Textfeld 27">
            <a:extLst>
              <a:ext uri="{FF2B5EF4-FFF2-40B4-BE49-F238E27FC236}">
                <a16:creationId xmlns:a16="http://schemas.microsoft.com/office/drawing/2014/main" id="{697B48DF-63A6-98BB-FAEE-5BF50BC83162}"/>
              </a:ext>
            </a:extLst>
          </p:cNvPr>
          <p:cNvSpPr txBox="1"/>
          <p:nvPr userDrawn="1"/>
        </p:nvSpPr>
        <p:spPr>
          <a:xfrm>
            <a:off x="6095999" y="3716076"/>
            <a:ext cx="2562203" cy="9448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AC1938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OSCOW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urchaninov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Per. 6/2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19034 Moscow, Russia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oscow@advant-beiten.com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</a:t>
            </a: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+7 495 2329635</a:t>
            </a:r>
          </a:p>
        </p:txBody>
      </p:sp>
      <p:sp>
        <p:nvSpPr>
          <p:cNvPr id="24" name="Textfeld 28">
            <a:extLst>
              <a:ext uri="{FF2B5EF4-FFF2-40B4-BE49-F238E27FC236}">
                <a16:creationId xmlns:a16="http://schemas.microsoft.com/office/drawing/2014/main" id="{C2912EE4-C824-9E1B-9D43-FD479760984A}"/>
              </a:ext>
            </a:extLst>
          </p:cNvPr>
          <p:cNvSpPr txBox="1"/>
          <p:nvPr userDrawn="1"/>
        </p:nvSpPr>
        <p:spPr>
          <a:xfrm>
            <a:off x="6096000" y="2553716"/>
            <a:ext cx="2562203" cy="9448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AC1938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ILAN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Via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gnello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12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0121 Milan, Italy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ilan@advant-nctm.com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</a:t>
            </a: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+39 02 725 511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" name="Textfeld 29">
            <a:extLst>
              <a:ext uri="{FF2B5EF4-FFF2-40B4-BE49-F238E27FC236}">
                <a16:creationId xmlns:a16="http://schemas.microsoft.com/office/drawing/2014/main" id="{4F6C804D-DA39-EBC5-BF54-EC6272296B69}"/>
              </a:ext>
            </a:extLst>
          </p:cNvPr>
          <p:cNvSpPr txBox="1"/>
          <p:nvPr userDrawn="1"/>
        </p:nvSpPr>
        <p:spPr>
          <a:xfrm>
            <a:off x="6095999" y="1316352"/>
            <a:ext cx="2562203" cy="11140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AC1938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NDON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40 Bruton Street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ndon, W1J6QZ, United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Kingdom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ndon@advant-nctm.com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+44 20 73759900</a:t>
            </a:r>
          </a:p>
        </p:txBody>
      </p:sp>
      <p:sp>
        <p:nvSpPr>
          <p:cNvPr id="26" name="Textfeld 31">
            <a:extLst>
              <a:ext uri="{FF2B5EF4-FFF2-40B4-BE49-F238E27FC236}">
                <a16:creationId xmlns:a16="http://schemas.microsoft.com/office/drawing/2014/main" id="{9D70C434-254E-2183-E7F4-66BCF812B648}"/>
              </a:ext>
            </a:extLst>
          </p:cNvPr>
          <p:cNvSpPr txBox="1"/>
          <p:nvPr userDrawn="1"/>
        </p:nvSpPr>
        <p:spPr>
          <a:xfrm>
            <a:off x="3385674" y="4886289"/>
            <a:ext cx="2562203" cy="9448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AC1938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AMBURG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euer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Wall 72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0354 Hamburg, Germany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amburg@advant-beiten.com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</a:t>
            </a: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+49 40 688745-0</a:t>
            </a:r>
          </a:p>
        </p:txBody>
      </p:sp>
      <p:sp>
        <p:nvSpPr>
          <p:cNvPr id="27" name="Textfeld 32">
            <a:extLst>
              <a:ext uri="{FF2B5EF4-FFF2-40B4-BE49-F238E27FC236}">
                <a16:creationId xmlns:a16="http://schemas.microsoft.com/office/drawing/2014/main" id="{5A26579D-92D9-6A68-A027-3C5567F5833C}"/>
              </a:ext>
            </a:extLst>
          </p:cNvPr>
          <p:cNvSpPr txBox="1"/>
          <p:nvPr userDrawn="1"/>
        </p:nvSpPr>
        <p:spPr>
          <a:xfrm>
            <a:off x="3390757" y="1331246"/>
            <a:ext cx="2562203" cy="9448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AC1938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KFURT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inzer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andstrasse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36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60325 Frankfurt, Germany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kfurt@advant-beiten.com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</a:t>
            </a: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+49 69 756095-0</a:t>
            </a:r>
          </a:p>
        </p:txBody>
      </p:sp>
      <p:sp>
        <p:nvSpPr>
          <p:cNvPr id="28" name="Textfeld 33">
            <a:extLst>
              <a:ext uri="{FF2B5EF4-FFF2-40B4-BE49-F238E27FC236}">
                <a16:creationId xmlns:a16="http://schemas.microsoft.com/office/drawing/2014/main" id="{8F5F244D-48E2-8081-D3DD-7596420C4B63}"/>
              </a:ext>
            </a:extLst>
          </p:cNvPr>
          <p:cNvSpPr txBox="1"/>
          <p:nvPr userDrawn="1"/>
        </p:nvSpPr>
        <p:spPr>
          <a:xfrm>
            <a:off x="826013" y="5100887"/>
            <a:ext cx="2562203" cy="9448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AC1938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USSELDORF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ecilienallee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7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40474 Dusseldorf, Germany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usseldorf@advant-beiten.com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</a:t>
            </a: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+49 211 518989-0</a:t>
            </a:r>
          </a:p>
        </p:txBody>
      </p:sp>
      <p:sp>
        <p:nvSpPr>
          <p:cNvPr id="29" name="Textfeld 38">
            <a:extLst>
              <a:ext uri="{FF2B5EF4-FFF2-40B4-BE49-F238E27FC236}">
                <a16:creationId xmlns:a16="http://schemas.microsoft.com/office/drawing/2014/main" id="{35965B74-801B-E14F-327C-3177D58D19C2}"/>
              </a:ext>
            </a:extLst>
          </p:cNvPr>
          <p:cNvSpPr txBox="1"/>
          <p:nvPr userDrawn="1"/>
        </p:nvSpPr>
        <p:spPr>
          <a:xfrm>
            <a:off x="828555" y="4056729"/>
            <a:ext cx="2562203" cy="9448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AC1938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RUSSELS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venue Louise 489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050 Brussels, Belgium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russels@advant-beiten.com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</a:t>
            </a: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+32 2 6390000</a:t>
            </a:r>
          </a:p>
        </p:txBody>
      </p:sp>
      <p:sp>
        <p:nvSpPr>
          <p:cNvPr id="30" name="Textfeld 49">
            <a:extLst>
              <a:ext uri="{FF2B5EF4-FFF2-40B4-BE49-F238E27FC236}">
                <a16:creationId xmlns:a16="http://schemas.microsoft.com/office/drawing/2014/main" id="{269D6CFD-9F5A-8F5E-E276-D1E442C7E44D}"/>
              </a:ext>
            </a:extLst>
          </p:cNvPr>
          <p:cNvSpPr txBox="1"/>
          <p:nvPr userDrawn="1"/>
        </p:nvSpPr>
        <p:spPr>
          <a:xfrm>
            <a:off x="828556" y="3012571"/>
            <a:ext cx="2562203" cy="9448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AC1938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ERLIN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ützowplatz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10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0785 Berlin, Germany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erlin@advant-beiten.com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</a:t>
            </a: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+49 30 26471-0</a:t>
            </a:r>
          </a:p>
        </p:txBody>
      </p:sp>
      <p:sp>
        <p:nvSpPr>
          <p:cNvPr id="31" name="Textfeld 50">
            <a:extLst>
              <a:ext uri="{FF2B5EF4-FFF2-40B4-BE49-F238E27FC236}">
                <a16:creationId xmlns:a16="http://schemas.microsoft.com/office/drawing/2014/main" id="{320F6408-5509-26E3-7CC7-B82436210FDD}"/>
              </a:ext>
            </a:extLst>
          </p:cNvPr>
          <p:cNvSpPr txBox="1"/>
          <p:nvPr userDrawn="1"/>
        </p:nvSpPr>
        <p:spPr>
          <a:xfrm>
            <a:off x="828557" y="1332406"/>
            <a:ext cx="2562203" cy="16106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AC1938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EIJING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uite 3130, 31st Floor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th Office Tower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eijing Kerry </a:t>
            </a:r>
            <a:r>
              <a:rPr kumimoji="0" lang="de-DE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entre</a:t>
            </a:r>
            <a:endParaRPr kumimoji="0" lang="de-DE" sz="105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 </a:t>
            </a:r>
            <a:r>
              <a:rPr kumimoji="0" lang="de-DE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Guang</a:t>
            </a: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Hua Road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o Yang </a:t>
            </a:r>
            <a:r>
              <a:rPr kumimoji="0" lang="de-DE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strict</a:t>
            </a: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00020 Beijing, China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eijing@advant-beiten.com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</a:t>
            </a: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+86 10 85298110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C3155BBF-AB1E-27EF-DBBF-030FDD064086}"/>
              </a:ext>
            </a:extLst>
          </p:cNvPr>
          <p:cNvSpPr txBox="1"/>
          <p:nvPr userDrawn="1"/>
        </p:nvSpPr>
        <p:spPr>
          <a:xfrm>
            <a:off x="3385674" y="2501708"/>
            <a:ext cx="2562203" cy="11233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AC1938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EIBUR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einrich-von-Stephan-Strasse 25 79100 Freiburg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m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Breisgau, Germany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eiburg@advant-beiten.com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+49 761 150984-0</a:t>
            </a: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3" name="Textfeld 31">
            <a:extLst>
              <a:ext uri="{FF2B5EF4-FFF2-40B4-BE49-F238E27FC236}">
                <a16:creationId xmlns:a16="http://schemas.microsoft.com/office/drawing/2014/main" id="{8C199491-2ADF-AD26-95DE-8DB1ECDDD739}"/>
              </a:ext>
            </a:extLst>
          </p:cNvPr>
          <p:cNvSpPr txBox="1"/>
          <p:nvPr userDrawn="1"/>
        </p:nvSpPr>
        <p:spPr>
          <a:xfrm>
            <a:off x="3385674" y="3734160"/>
            <a:ext cx="256220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AC1938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GENO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Via Roma, 1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6121 Genoa, </a:t>
            </a:r>
            <a:r>
              <a:rPr kumimoji="0" lang="de-DE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taly</a:t>
            </a: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genoa@advant-nctm.com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+39 010 8531407</a:t>
            </a:r>
          </a:p>
        </p:txBody>
      </p:sp>
    </p:spTree>
    <p:extLst>
      <p:ext uri="{BB962C8B-B14F-4D97-AF65-F5344CB8AC3E}">
        <p14:creationId xmlns:p14="http://schemas.microsoft.com/office/powerpoint/2010/main" val="37304107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40">
          <p15:clr>
            <a:srgbClr val="FBAE40"/>
          </p15:clr>
        </p15:guide>
        <p15:guide id="2" pos="519">
          <p15:clr>
            <a:srgbClr val="FBAE40"/>
          </p15:clr>
        </p15:guide>
        <p15:guide id="3" orient="horz" pos="1858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524DB25-5079-3B47-B924-B2E79D7F76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1" y="540000"/>
            <a:ext cx="10514397" cy="52422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cap="all" baseline="0"/>
            </a:lvl1pPr>
          </a:lstStyle>
          <a:p>
            <a:r>
              <a:rPr lang="de-DE" dirty="0"/>
              <a:t>AGENDA</a:t>
            </a:r>
            <a:endParaRPr lang="en-US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8A57D2FD-3BE8-CF48-8D2F-8F527902FA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52551" y="1869671"/>
            <a:ext cx="8775865" cy="365126"/>
          </a:xfrm>
          <a:prstGeom prst="rect">
            <a:avLst/>
          </a:prstGeom>
        </p:spPr>
        <p:txBody>
          <a:bodyPr anchor="ctr"/>
          <a:lstStyle>
            <a:lvl1pPr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70259DFD-39E3-2B4C-8EB5-74B44A8456B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8801" y="1069274"/>
            <a:ext cx="10514397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  <p:sp>
        <p:nvSpPr>
          <p:cNvPr id="11" name="Textplatzhalter 12">
            <a:extLst>
              <a:ext uri="{FF2B5EF4-FFF2-40B4-BE49-F238E27FC236}">
                <a16:creationId xmlns:a16="http://schemas.microsoft.com/office/drawing/2014/main" id="{C12D7936-1AAA-9244-A029-B5145F072BA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852550" y="2419378"/>
            <a:ext cx="8775866" cy="365126"/>
          </a:xfrm>
          <a:prstGeom prst="rect">
            <a:avLst/>
          </a:prstGeom>
        </p:spPr>
        <p:txBody>
          <a:bodyPr anchor="ctr"/>
          <a:lstStyle>
            <a:lvl1pPr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12" name="Textplatzhalter 12">
            <a:extLst>
              <a:ext uri="{FF2B5EF4-FFF2-40B4-BE49-F238E27FC236}">
                <a16:creationId xmlns:a16="http://schemas.microsoft.com/office/drawing/2014/main" id="{85FFBB87-C3F4-344E-9536-5830E32818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52549" y="2969085"/>
            <a:ext cx="8775867" cy="365126"/>
          </a:xfrm>
          <a:prstGeom prst="rect">
            <a:avLst/>
          </a:prstGeom>
        </p:spPr>
        <p:txBody>
          <a:bodyPr anchor="ctr"/>
          <a:lstStyle>
            <a:lvl1pPr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14" name="Textplatzhalter 12">
            <a:extLst>
              <a:ext uri="{FF2B5EF4-FFF2-40B4-BE49-F238E27FC236}">
                <a16:creationId xmlns:a16="http://schemas.microsoft.com/office/drawing/2014/main" id="{B4D4F205-9CB0-5543-A396-DEEDBCE2053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852549" y="3518792"/>
            <a:ext cx="8775867" cy="365126"/>
          </a:xfrm>
          <a:prstGeom prst="rect">
            <a:avLst/>
          </a:prstGeom>
        </p:spPr>
        <p:txBody>
          <a:bodyPr anchor="ctr"/>
          <a:lstStyle>
            <a:lvl1pPr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938EB553-D83F-8E4B-A7E9-2AC368BB665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852549" y="4068499"/>
            <a:ext cx="8775867" cy="365126"/>
          </a:xfrm>
          <a:prstGeom prst="rect">
            <a:avLst/>
          </a:prstGeom>
        </p:spPr>
        <p:txBody>
          <a:bodyPr anchor="ctr"/>
          <a:lstStyle>
            <a:lvl1pPr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17" name="Textplatzhalter 12">
            <a:extLst>
              <a:ext uri="{FF2B5EF4-FFF2-40B4-BE49-F238E27FC236}">
                <a16:creationId xmlns:a16="http://schemas.microsoft.com/office/drawing/2014/main" id="{C5BC9A5A-CA04-C946-ABE6-91CAA6E5F9C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852549" y="4618206"/>
            <a:ext cx="8775867" cy="365126"/>
          </a:xfrm>
          <a:prstGeom prst="rect">
            <a:avLst/>
          </a:prstGeom>
        </p:spPr>
        <p:txBody>
          <a:bodyPr anchor="ctr"/>
          <a:lstStyle>
            <a:lvl1pPr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18" name="Textplatzhalter 12">
            <a:extLst>
              <a:ext uri="{FF2B5EF4-FFF2-40B4-BE49-F238E27FC236}">
                <a16:creationId xmlns:a16="http://schemas.microsoft.com/office/drawing/2014/main" id="{67EEFC22-ECF6-EF47-A5E7-8B566596448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852549" y="5167913"/>
            <a:ext cx="8775867" cy="365126"/>
          </a:xfrm>
          <a:prstGeom prst="rect">
            <a:avLst/>
          </a:prstGeom>
        </p:spPr>
        <p:txBody>
          <a:bodyPr anchor="ctr"/>
          <a:lstStyle>
            <a:lvl1pPr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19" name="Textplatzhalter 12">
            <a:extLst>
              <a:ext uri="{FF2B5EF4-FFF2-40B4-BE49-F238E27FC236}">
                <a16:creationId xmlns:a16="http://schemas.microsoft.com/office/drawing/2014/main" id="{561C174B-66C4-C244-917F-751D98D771E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8051" y="1869671"/>
            <a:ext cx="752255" cy="365126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algn="ctr">
              <a:buClr>
                <a:schemeClr val="tx2"/>
              </a:buClr>
              <a:buFont typeface="Wingdings" pitchFamily="2" charset="2"/>
              <a:buNone/>
              <a:defRPr sz="1700" b="1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I</a:t>
            </a:r>
          </a:p>
        </p:txBody>
      </p:sp>
      <p:sp>
        <p:nvSpPr>
          <p:cNvPr id="20" name="Textplatzhalter 12">
            <a:extLst>
              <a:ext uri="{FF2B5EF4-FFF2-40B4-BE49-F238E27FC236}">
                <a16:creationId xmlns:a16="http://schemas.microsoft.com/office/drawing/2014/main" id="{14FBCAF5-29B1-DA4B-A7DB-98BF3F4479A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8050" y="2420031"/>
            <a:ext cx="752256" cy="365126"/>
          </a:xfrm>
          <a:prstGeom prst="rect">
            <a:avLst/>
          </a:prstGeom>
          <a:solidFill>
            <a:schemeClr val="accent5"/>
          </a:solidFill>
        </p:spPr>
        <p:txBody>
          <a:bodyPr anchor="ctr"/>
          <a:lstStyle>
            <a:lvl1pPr algn="ctr">
              <a:buClr>
                <a:schemeClr val="tx2"/>
              </a:buClr>
              <a:buFont typeface="Wingdings" pitchFamily="2" charset="2"/>
              <a:buNone/>
              <a:defRPr sz="1700" b="1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II</a:t>
            </a:r>
          </a:p>
        </p:txBody>
      </p:sp>
      <p:sp>
        <p:nvSpPr>
          <p:cNvPr id="21" name="Textplatzhalter 12">
            <a:extLst>
              <a:ext uri="{FF2B5EF4-FFF2-40B4-BE49-F238E27FC236}">
                <a16:creationId xmlns:a16="http://schemas.microsoft.com/office/drawing/2014/main" id="{74A02F0F-DB36-F045-8024-C825C1A1AE4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8048" y="2970391"/>
            <a:ext cx="752258" cy="365126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algn="ctr">
              <a:buClr>
                <a:schemeClr val="tx2"/>
              </a:buClr>
              <a:buFont typeface="Wingdings" pitchFamily="2" charset="2"/>
              <a:buNone/>
              <a:defRPr sz="1700" b="1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III</a:t>
            </a:r>
          </a:p>
        </p:txBody>
      </p:sp>
      <p:sp>
        <p:nvSpPr>
          <p:cNvPr id="23" name="Textplatzhalter 12">
            <a:extLst>
              <a:ext uri="{FF2B5EF4-FFF2-40B4-BE49-F238E27FC236}">
                <a16:creationId xmlns:a16="http://schemas.microsoft.com/office/drawing/2014/main" id="{1E049BAD-D2B8-A846-B6B2-367B89E7BA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28048" y="3520751"/>
            <a:ext cx="752258" cy="365126"/>
          </a:xfrm>
          <a:prstGeom prst="rect">
            <a:avLst/>
          </a:prstGeom>
          <a:solidFill>
            <a:schemeClr val="accent6"/>
          </a:solidFill>
        </p:spPr>
        <p:txBody>
          <a:bodyPr anchor="ctr"/>
          <a:lstStyle>
            <a:lvl1pPr algn="ctr">
              <a:buClr>
                <a:schemeClr val="tx2"/>
              </a:buClr>
              <a:buFont typeface="Wingdings" pitchFamily="2" charset="2"/>
              <a:buNone/>
              <a:defRPr sz="1700" b="1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IV</a:t>
            </a:r>
          </a:p>
        </p:txBody>
      </p:sp>
      <p:sp>
        <p:nvSpPr>
          <p:cNvPr id="24" name="Textplatzhalter 12">
            <a:extLst>
              <a:ext uri="{FF2B5EF4-FFF2-40B4-BE49-F238E27FC236}">
                <a16:creationId xmlns:a16="http://schemas.microsoft.com/office/drawing/2014/main" id="{B905827C-CA6E-9347-B476-C9BEF036C55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8048" y="4071111"/>
            <a:ext cx="752258" cy="365126"/>
          </a:xfrm>
          <a:prstGeom prst="rect">
            <a:avLst/>
          </a:prstGeom>
          <a:solidFill>
            <a:schemeClr val="accent3"/>
          </a:solidFill>
        </p:spPr>
        <p:txBody>
          <a:bodyPr anchor="ctr"/>
          <a:lstStyle>
            <a:lvl1pPr algn="ctr">
              <a:buClr>
                <a:schemeClr val="tx2"/>
              </a:buClr>
              <a:buFont typeface="Wingdings" pitchFamily="2" charset="2"/>
              <a:buNone/>
              <a:defRPr sz="1700" b="1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V</a:t>
            </a:r>
          </a:p>
        </p:txBody>
      </p:sp>
      <p:sp>
        <p:nvSpPr>
          <p:cNvPr id="25" name="Textplatzhalter 12">
            <a:extLst>
              <a:ext uri="{FF2B5EF4-FFF2-40B4-BE49-F238E27FC236}">
                <a16:creationId xmlns:a16="http://schemas.microsoft.com/office/drawing/2014/main" id="{E684EF84-B26A-EA4C-9E1A-61DA37CE70F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8048" y="4621471"/>
            <a:ext cx="752258" cy="365126"/>
          </a:xfrm>
          <a:prstGeom prst="rect">
            <a:avLst/>
          </a:prstGeom>
          <a:solidFill>
            <a:schemeClr val="accent2"/>
          </a:solidFill>
        </p:spPr>
        <p:txBody>
          <a:bodyPr anchor="ctr"/>
          <a:lstStyle>
            <a:lvl1pPr algn="ctr">
              <a:buClr>
                <a:schemeClr val="tx2"/>
              </a:buClr>
              <a:buFont typeface="Wingdings" pitchFamily="2" charset="2"/>
              <a:buNone/>
              <a:defRPr sz="1700" b="1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VI</a:t>
            </a:r>
          </a:p>
        </p:txBody>
      </p:sp>
      <p:sp>
        <p:nvSpPr>
          <p:cNvPr id="26" name="Textplatzhalter 12">
            <a:extLst>
              <a:ext uri="{FF2B5EF4-FFF2-40B4-BE49-F238E27FC236}">
                <a16:creationId xmlns:a16="http://schemas.microsoft.com/office/drawing/2014/main" id="{239E5B2C-7BD2-7744-820B-FF7DCA0AD38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28047" y="5171831"/>
            <a:ext cx="752259" cy="3651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buClr>
                <a:schemeClr val="tx2"/>
              </a:buClr>
              <a:buFont typeface="Wingdings" pitchFamily="2" charset="2"/>
              <a:buNone/>
              <a:defRPr sz="1700" b="1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VII</a:t>
            </a:r>
          </a:p>
        </p:txBody>
      </p:sp>
      <p:sp>
        <p:nvSpPr>
          <p:cNvPr id="27" name="Textplatzhalter 12">
            <a:extLst>
              <a:ext uri="{FF2B5EF4-FFF2-40B4-BE49-F238E27FC236}">
                <a16:creationId xmlns:a16="http://schemas.microsoft.com/office/drawing/2014/main" id="{E976968F-D57E-724C-8E5E-A64931D68AE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852549" y="5717620"/>
            <a:ext cx="8775867" cy="365126"/>
          </a:xfrm>
          <a:prstGeom prst="rect">
            <a:avLst/>
          </a:prstGeom>
        </p:spPr>
        <p:txBody>
          <a:bodyPr anchor="ctr"/>
          <a:lstStyle>
            <a:lvl1pPr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28" name="Textplatzhalter 12">
            <a:extLst>
              <a:ext uri="{FF2B5EF4-FFF2-40B4-BE49-F238E27FC236}">
                <a16:creationId xmlns:a16="http://schemas.microsoft.com/office/drawing/2014/main" id="{EDC1B909-2063-744F-91CF-A9E8AFC1656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28047" y="5722190"/>
            <a:ext cx="752259" cy="365126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buClr>
                <a:schemeClr val="tx2"/>
              </a:buClr>
              <a:buFont typeface="Wingdings" pitchFamily="2" charset="2"/>
              <a:buNone/>
              <a:defRPr sz="1700" b="1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VIII</a:t>
            </a:r>
          </a:p>
        </p:txBody>
      </p:sp>
      <p:sp>
        <p:nvSpPr>
          <p:cNvPr id="29" name="Textplatzhalter 12">
            <a:extLst>
              <a:ext uri="{FF2B5EF4-FFF2-40B4-BE49-F238E27FC236}">
                <a16:creationId xmlns:a16="http://schemas.microsoft.com/office/drawing/2014/main" id="{161C5A64-7E3B-D641-BC1B-DE42D01FC4F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793075" y="1869018"/>
            <a:ext cx="560124" cy="365126"/>
          </a:xfrm>
          <a:prstGeom prst="rect">
            <a:avLst/>
          </a:prstGeom>
        </p:spPr>
        <p:txBody>
          <a:bodyPr anchor="ctr"/>
          <a:lstStyle>
            <a:lvl1pPr algn="r"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30" name="Textplatzhalter 12">
            <a:extLst>
              <a:ext uri="{FF2B5EF4-FFF2-40B4-BE49-F238E27FC236}">
                <a16:creationId xmlns:a16="http://schemas.microsoft.com/office/drawing/2014/main" id="{B79E5BBB-DB39-1542-B007-F1A8EDC35F8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793074" y="2419378"/>
            <a:ext cx="560125" cy="365126"/>
          </a:xfrm>
          <a:prstGeom prst="rect">
            <a:avLst/>
          </a:prstGeom>
        </p:spPr>
        <p:txBody>
          <a:bodyPr anchor="ctr"/>
          <a:lstStyle>
            <a:lvl1pPr algn="r"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31" name="Textplatzhalter 12">
            <a:extLst>
              <a:ext uri="{FF2B5EF4-FFF2-40B4-BE49-F238E27FC236}">
                <a16:creationId xmlns:a16="http://schemas.microsoft.com/office/drawing/2014/main" id="{CF12D359-7A50-0641-B3A8-171DBD5AF79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0793073" y="2969738"/>
            <a:ext cx="560126" cy="365126"/>
          </a:xfrm>
          <a:prstGeom prst="rect">
            <a:avLst/>
          </a:prstGeom>
        </p:spPr>
        <p:txBody>
          <a:bodyPr anchor="ctr"/>
          <a:lstStyle>
            <a:lvl1pPr algn="r"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32" name="Textplatzhalter 12">
            <a:extLst>
              <a:ext uri="{FF2B5EF4-FFF2-40B4-BE49-F238E27FC236}">
                <a16:creationId xmlns:a16="http://schemas.microsoft.com/office/drawing/2014/main" id="{BC2F1AC6-3B73-DF41-9152-B293C0A2C8B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793073" y="3520098"/>
            <a:ext cx="560126" cy="365126"/>
          </a:xfrm>
          <a:prstGeom prst="rect">
            <a:avLst/>
          </a:prstGeom>
        </p:spPr>
        <p:txBody>
          <a:bodyPr anchor="ctr"/>
          <a:lstStyle>
            <a:lvl1pPr algn="r"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33" name="Textplatzhalter 12">
            <a:extLst>
              <a:ext uri="{FF2B5EF4-FFF2-40B4-BE49-F238E27FC236}">
                <a16:creationId xmlns:a16="http://schemas.microsoft.com/office/drawing/2014/main" id="{80D4C78A-9466-D643-B853-C0341926F64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0793073" y="4070458"/>
            <a:ext cx="560126" cy="365126"/>
          </a:xfrm>
          <a:prstGeom prst="rect">
            <a:avLst/>
          </a:prstGeom>
        </p:spPr>
        <p:txBody>
          <a:bodyPr anchor="ctr"/>
          <a:lstStyle>
            <a:lvl1pPr algn="r"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34" name="Textplatzhalter 12">
            <a:extLst>
              <a:ext uri="{FF2B5EF4-FFF2-40B4-BE49-F238E27FC236}">
                <a16:creationId xmlns:a16="http://schemas.microsoft.com/office/drawing/2014/main" id="{81A79153-BFDF-074D-B536-6F61622AF10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0793073" y="4620818"/>
            <a:ext cx="560126" cy="365126"/>
          </a:xfrm>
          <a:prstGeom prst="rect">
            <a:avLst/>
          </a:prstGeom>
        </p:spPr>
        <p:txBody>
          <a:bodyPr anchor="ctr"/>
          <a:lstStyle>
            <a:lvl1pPr algn="r"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6</a:t>
            </a:r>
          </a:p>
        </p:txBody>
      </p:sp>
      <p:sp>
        <p:nvSpPr>
          <p:cNvPr id="35" name="Textplatzhalter 12">
            <a:extLst>
              <a:ext uri="{FF2B5EF4-FFF2-40B4-BE49-F238E27FC236}">
                <a16:creationId xmlns:a16="http://schemas.microsoft.com/office/drawing/2014/main" id="{73D2E6B9-74E3-6C45-8A9B-0580722B4F1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0793072" y="5171178"/>
            <a:ext cx="560127" cy="365126"/>
          </a:xfrm>
          <a:prstGeom prst="rect">
            <a:avLst/>
          </a:prstGeom>
        </p:spPr>
        <p:txBody>
          <a:bodyPr anchor="ctr"/>
          <a:lstStyle>
            <a:lvl1pPr algn="r"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7</a:t>
            </a:r>
          </a:p>
        </p:txBody>
      </p:sp>
      <p:sp>
        <p:nvSpPr>
          <p:cNvPr id="36" name="Textplatzhalter 12">
            <a:extLst>
              <a:ext uri="{FF2B5EF4-FFF2-40B4-BE49-F238E27FC236}">
                <a16:creationId xmlns:a16="http://schemas.microsoft.com/office/drawing/2014/main" id="{B872768B-9084-C94E-916F-D5070E60439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0793072" y="5721537"/>
            <a:ext cx="560127" cy="365126"/>
          </a:xfrm>
          <a:prstGeom prst="rect">
            <a:avLst/>
          </a:prstGeom>
        </p:spPr>
        <p:txBody>
          <a:bodyPr anchor="ctr"/>
          <a:lstStyle>
            <a:lvl1pPr algn="r"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8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8FA4426-CFB9-494D-9531-7BCB3A359A97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  <p:pic>
        <p:nvPicPr>
          <p:cNvPr id="38" name="Grafik 37">
            <a:extLst>
              <a:ext uri="{FF2B5EF4-FFF2-40B4-BE49-F238E27FC236}">
                <a16:creationId xmlns:a16="http://schemas.microsoft.com/office/drawing/2014/main" id="{DFA86F0E-F9C8-C64B-8EF6-7F5BB2A9477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025831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WHITE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524DB25-5079-3B47-B924-B2E79D7F76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1" y="540000"/>
            <a:ext cx="6147805" cy="52422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cap="all" baseline="0"/>
            </a:lvl1pPr>
          </a:lstStyle>
          <a:p>
            <a:r>
              <a:rPr lang="de-DE" dirty="0"/>
              <a:t>AGENDA</a:t>
            </a:r>
            <a:endParaRPr lang="en-US" dirty="0"/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05A35E00-86E7-4C44-A1E9-916100B9A99D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7157157" y="0"/>
            <a:ext cx="5034844" cy="68580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Verdan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8A57D2FD-3BE8-CF48-8D2F-8F527902FA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53211" y="1870324"/>
            <a:ext cx="4434850" cy="365126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11" name="Textplatzhalter 12">
            <a:extLst>
              <a:ext uri="{FF2B5EF4-FFF2-40B4-BE49-F238E27FC236}">
                <a16:creationId xmlns:a16="http://schemas.microsoft.com/office/drawing/2014/main" id="{C12D7936-1AAA-9244-A029-B5145F072BA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753211" y="2419131"/>
            <a:ext cx="4434849" cy="365126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12" name="Textplatzhalter 12">
            <a:extLst>
              <a:ext uri="{FF2B5EF4-FFF2-40B4-BE49-F238E27FC236}">
                <a16:creationId xmlns:a16="http://schemas.microsoft.com/office/drawing/2014/main" id="{85FFBB87-C3F4-344E-9536-5830E32818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753211" y="2967938"/>
            <a:ext cx="4434849" cy="365126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14" name="Textplatzhalter 12">
            <a:extLst>
              <a:ext uri="{FF2B5EF4-FFF2-40B4-BE49-F238E27FC236}">
                <a16:creationId xmlns:a16="http://schemas.microsoft.com/office/drawing/2014/main" id="{B4D4F205-9CB0-5543-A396-DEEDBCE2053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753211" y="3516745"/>
            <a:ext cx="4434849" cy="365126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938EB553-D83F-8E4B-A7E9-2AC368BB665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53211" y="4065552"/>
            <a:ext cx="4434849" cy="365126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17" name="Textplatzhalter 12">
            <a:extLst>
              <a:ext uri="{FF2B5EF4-FFF2-40B4-BE49-F238E27FC236}">
                <a16:creationId xmlns:a16="http://schemas.microsoft.com/office/drawing/2014/main" id="{C5BC9A5A-CA04-C946-ABE6-91CAA6E5F9C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753211" y="4614359"/>
            <a:ext cx="4434849" cy="365126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18" name="Textplatzhalter 12">
            <a:extLst>
              <a:ext uri="{FF2B5EF4-FFF2-40B4-BE49-F238E27FC236}">
                <a16:creationId xmlns:a16="http://schemas.microsoft.com/office/drawing/2014/main" id="{67EEFC22-ECF6-EF47-A5E7-8B566596448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753211" y="5163166"/>
            <a:ext cx="4434849" cy="365126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19" name="Textplatzhalter 12">
            <a:extLst>
              <a:ext uri="{FF2B5EF4-FFF2-40B4-BE49-F238E27FC236}">
                <a16:creationId xmlns:a16="http://schemas.microsoft.com/office/drawing/2014/main" id="{561C174B-66C4-C244-917F-751D98D771E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8800" y="1870324"/>
            <a:ext cx="758430" cy="365126"/>
          </a:xfrm>
          <a:prstGeom prst="rect">
            <a:avLst/>
          </a:prstGeom>
        </p:spPr>
        <p:txBody>
          <a:bodyPr anchor="t"/>
          <a:lstStyle>
            <a:lvl1pPr algn="l">
              <a:buClr>
                <a:schemeClr val="tx2"/>
              </a:buClr>
              <a:buFont typeface="Wingdings" pitchFamily="2" charset="2"/>
              <a:buNone/>
              <a:defRPr sz="1700" b="1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I</a:t>
            </a:r>
          </a:p>
        </p:txBody>
      </p:sp>
      <p:sp>
        <p:nvSpPr>
          <p:cNvPr id="20" name="Textplatzhalter 12">
            <a:extLst>
              <a:ext uri="{FF2B5EF4-FFF2-40B4-BE49-F238E27FC236}">
                <a16:creationId xmlns:a16="http://schemas.microsoft.com/office/drawing/2014/main" id="{14FBCAF5-29B1-DA4B-A7DB-98BF3F4479A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8800" y="2419784"/>
            <a:ext cx="758431" cy="365126"/>
          </a:xfrm>
          <a:prstGeom prst="rect">
            <a:avLst/>
          </a:prstGeom>
        </p:spPr>
        <p:txBody>
          <a:bodyPr anchor="t"/>
          <a:lstStyle>
            <a:lvl1pPr algn="l">
              <a:buClr>
                <a:schemeClr val="tx2"/>
              </a:buClr>
              <a:buFont typeface="Wingdings" pitchFamily="2" charset="2"/>
              <a:buNone/>
              <a:defRPr sz="1700" b="1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II</a:t>
            </a:r>
          </a:p>
        </p:txBody>
      </p:sp>
      <p:sp>
        <p:nvSpPr>
          <p:cNvPr id="21" name="Textplatzhalter 12">
            <a:extLst>
              <a:ext uri="{FF2B5EF4-FFF2-40B4-BE49-F238E27FC236}">
                <a16:creationId xmlns:a16="http://schemas.microsoft.com/office/drawing/2014/main" id="{74A02F0F-DB36-F045-8024-C825C1A1AE4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38799" y="2969244"/>
            <a:ext cx="758432" cy="365126"/>
          </a:xfrm>
          <a:prstGeom prst="rect">
            <a:avLst/>
          </a:prstGeom>
        </p:spPr>
        <p:txBody>
          <a:bodyPr anchor="t"/>
          <a:lstStyle>
            <a:lvl1pPr algn="l">
              <a:buClr>
                <a:schemeClr val="tx2"/>
              </a:buClr>
              <a:buFont typeface="Wingdings" pitchFamily="2" charset="2"/>
              <a:buNone/>
              <a:defRPr sz="1700" b="1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III</a:t>
            </a:r>
          </a:p>
        </p:txBody>
      </p:sp>
      <p:sp>
        <p:nvSpPr>
          <p:cNvPr id="23" name="Textplatzhalter 12">
            <a:extLst>
              <a:ext uri="{FF2B5EF4-FFF2-40B4-BE49-F238E27FC236}">
                <a16:creationId xmlns:a16="http://schemas.microsoft.com/office/drawing/2014/main" id="{1E049BAD-D2B8-A846-B6B2-367B89E7BA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8799" y="3518704"/>
            <a:ext cx="758432" cy="365126"/>
          </a:xfrm>
          <a:prstGeom prst="rect">
            <a:avLst/>
          </a:prstGeom>
        </p:spPr>
        <p:txBody>
          <a:bodyPr anchor="t"/>
          <a:lstStyle>
            <a:lvl1pPr algn="l">
              <a:buClr>
                <a:schemeClr val="tx2"/>
              </a:buClr>
              <a:buFont typeface="Wingdings" pitchFamily="2" charset="2"/>
              <a:buNone/>
              <a:defRPr sz="1700" b="1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IV</a:t>
            </a:r>
          </a:p>
        </p:txBody>
      </p:sp>
      <p:sp>
        <p:nvSpPr>
          <p:cNvPr id="24" name="Textplatzhalter 12">
            <a:extLst>
              <a:ext uri="{FF2B5EF4-FFF2-40B4-BE49-F238E27FC236}">
                <a16:creationId xmlns:a16="http://schemas.microsoft.com/office/drawing/2014/main" id="{B905827C-CA6E-9347-B476-C9BEF036C55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8799" y="4068164"/>
            <a:ext cx="758432" cy="365126"/>
          </a:xfrm>
          <a:prstGeom prst="rect">
            <a:avLst/>
          </a:prstGeom>
        </p:spPr>
        <p:txBody>
          <a:bodyPr anchor="t"/>
          <a:lstStyle>
            <a:lvl1pPr algn="l">
              <a:buClr>
                <a:schemeClr val="tx2"/>
              </a:buClr>
              <a:buFont typeface="Wingdings" pitchFamily="2" charset="2"/>
              <a:buNone/>
              <a:defRPr sz="1700" b="1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V</a:t>
            </a:r>
          </a:p>
        </p:txBody>
      </p:sp>
      <p:sp>
        <p:nvSpPr>
          <p:cNvPr id="25" name="Textplatzhalter 12">
            <a:extLst>
              <a:ext uri="{FF2B5EF4-FFF2-40B4-BE49-F238E27FC236}">
                <a16:creationId xmlns:a16="http://schemas.microsoft.com/office/drawing/2014/main" id="{E684EF84-B26A-EA4C-9E1A-61DA37CE70F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8799" y="4617624"/>
            <a:ext cx="758432" cy="365126"/>
          </a:xfrm>
          <a:prstGeom prst="rect">
            <a:avLst/>
          </a:prstGeom>
        </p:spPr>
        <p:txBody>
          <a:bodyPr anchor="t"/>
          <a:lstStyle>
            <a:lvl1pPr algn="l">
              <a:buClr>
                <a:schemeClr val="tx2"/>
              </a:buClr>
              <a:buFont typeface="Wingdings" pitchFamily="2" charset="2"/>
              <a:buNone/>
              <a:defRPr sz="1700" b="1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VI</a:t>
            </a:r>
          </a:p>
        </p:txBody>
      </p:sp>
      <p:sp>
        <p:nvSpPr>
          <p:cNvPr id="26" name="Textplatzhalter 12">
            <a:extLst>
              <a:ext uri="{FF2B5EF4-FFF2-40B4-BE49-F238E27FC236}">
                <a16:creationId xmlns:a16="http://schemas.microsoft.com/office/drawing/2014/main" id="{239E5B2C-7BD2-7744-820B-FF7DCA0AD38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38799" y="5167084"/>
            <a:ext cx="758434" cy="365126"/>
          </a:xfrm>
          <a:prstGeom prst="rect">
            <a:avLst/>
          </a:prstGeom>
        </p:spPr>
        <p:txBody>
          <a:bodyPr anchor="t"/>
          <a:lstStyle>
            <a:lvl1pPr algn="l">
              <a:buClr>
                <a:schemeClr val="tx2"/>
              </a:buClr>
              <a:buFont typeface="Wingdings" pitchFamily="2" charset="2"/>
              <a:buNone/>
              <a:defRPr sz="1700" b="1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VII</a:t>
            </a:r>
          </a:p>
        </p:txBody>
      </p:sp>
      <p:sp>
        <p:nvSpPr>
          <p:cNvPr id="27" name="Textplatzhalter 12">
            <a:extLst>
              <a:ext uri="{FF2B5EF4-FFF2-40B4-BE49-F238E27FC236}">
                <a16:creationId xmlns:a16="http://schemas.microsoft.com/office/drawing/2014/main" id="{E976968F-D57E-724C-8E5E-A64931D68AE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753211" y="5711972"/>
            <a:ext cx="4434850" cy="365126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28" name="Textplatzhalter 12">
            <a:extLst>
              <a:ext uri="{FF2B5EF4-FFF2-40B4-BE49-F238E27FC236}">
                <a16:creationId xmlns:a16="http://schemas.microsoft.com/office/drawing/2014/main" id="{EDC1B909-2063-744F-91CF-A9E8AFC1656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38800" y="5716542"/>
            <a:ext cx="758434" cy="365126"/>
          </a:xfrm>
          <a:prstGeom prst="rect">
            <a:avLst/>
          </a:prstGeom>
        </p:spPr>
        <p:txBody>
          <a:bodyPr anchor="t"/>
          <a:lstStyle>
            <a:lvl1pPr algn="l">
              <a:buClr>
                <a:schemeClr val="tx2"/>
              </a:buClr>
              <a:buFont typeface="Wingdings" pitchFamily="2" charset="2"/>
              <a:buNone/>
              <a:defRPr sz="1700" b="1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VIII</a:t>
            </a:r>
          </a:p>
        </p:txBody>
      </p:sp>
      <p:sp>
        <p:nvSpPr>
          <p:cNvPr id="29" name="Textplatzhalter 12">
            <a:extLst>
              <a:ext uri="{FF2B5EF4-FFF2-40B4-BE49-F238E27FC236}">
                <a16:creationId xmlns:a16="http://schemas.microsoft.com/office/drawing/2014/main" id="{161C5A64-7E3B-D641-BC1B-DE42D01FC4F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344038" y="1869671"/>
            <a:ext cx="642569" cy="365126"/>
          </a:xfrm>
          <a:prstGeom prst="rect">
            <a:avLst/>
          </a:prstGeom>
        </p:spPr>
        <p:txBody>
          <a:bodyPr anchor="t"/>
          <a:lstStyle>
            <a:lvl1pPr algn="r"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30" name="Textplatzhalter 12">
            <a:extLst>
              <a:ext uri="{FF2B5EF4-FFF2-40B4-BE49-F238E27FC236}">
                <a16:creationId xmlns:a16="http://schemas.microsoft.com/office/drawing/2014/main" id="{B79E5BBB-DB39-1542-B007-F1A8EDC35F8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344037" y="2418782"/>
            <a:ext cx="642570" cy="365126"/>
          </a:xfrm>
          <a:prstGeom prst="rect">
            <a:avLst/>
          </a:prstGeom>
        </p:spPr>
        <p:txBody>
          <a:bodyPr anchor="t"/>
          <a:lstStyle>
            <a:lvl1pPr algn="r"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31" name="Textplatzhalter 12">
            <a:extLst>
              <a:ext uri="{FF2B5EF4-FFF2-40B4-BE49-F238E27FC236}">
                <a16:creationId xmlns:a16="http://schemas.microsoft.com/office/drawing/2014/main" id="{CF12D359-7A50-0641-B3A8-171DBD5AF79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344035" y="2967893"/>
            <a:ext cx="642571" cy="365126"/>
          </a:xfrm>
          <a:prstGeom prst="rect">
            <a:avLst/>
          </a:prstGeom>
        </p:spPr>
        <p:txBody>
          <a:bodyPr anchor="t"/>
          <a:lstStyle>
            <a:lvl1pPr algn="r"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32" name="Textplatzhalter 12">
            <a:extLst>
              <a:ext uri="{FF2B5EF4-FFF2-40B4-BE49-F238E27FC236}">
                <a16:creationId xmlns:a16="http://schemas.microsoft.com/office/drawing/2014/main" id="{BC2F1AC6-3B73-DF41-9152-B293C0A2C8B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344035" y="3517004"/>
            <a:ext cx="642571" cy="365126"/>
          </a:xfrm>
          <a:prstGeom prst="rect">
            <a:avLst/>
          </a:prstGeom>
        </p:spPr>
        <p:txBody>
          <a:bodyPr anchor="t"/>
          <a:lstStyle>
            <a:lvl1pPr algn="r"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33" name="Textplatzhalter 12">
            <a:extLst>
              <a:ext uri="{FF2B5EF4-FFF2-40B4-BE49-F238E27FC236}">
                <a16:creationId xmlns:a16="http://schemas.microsoft.com/office/drawing/2014/main" id="{80D4C78A-9466-D643-B853-C0341926F64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344035" y="4066115"/>
            <a:ext cx="642571" cy="365126"/>
          </a:xfrm>
          <a:prstGeom prst="rect">
            <a:avLst/>
          </a:prstGeom>
        </p:spPr>
        <p:txBody>
          <a:bodyPr anchor="t"/>
          <a:lstStyle>
            <a:lvl1pPr algn="r"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34" name="Textplatzhalter 12">
            <a:extLst>
              <a:ext uri="{FF2B5EF4-FFF2-40B4-BE49-F238E27FC236}">
                <a16:creationId xmlns:a16="http://schemas.microsoft.com/office/drawing/2014/main" id="{81A79153-BFDF-074D-B536-6F61622AF10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344035" y="4615226"/>
            <a:ext cx="642571" cy="365126"/>
          </a:xfrm>
          <a:prstGeom prst="rect">
            <a:avLst/>
          </a:prstGeom>
        </p:spPr>
        <p:txBody>
          <a:bodyPr anchor="t"/>
          <a:lstStyle>
            <a:lvl1pPr algn="r"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6</a:t>
            </a:r>
          </a:p>
        </p:txBody>
      </p:sp>
      <p:sp>
        <p:nvSpPr>
          <p:cNvPr id="35" name="Textplatzhalter 12">
            <a:extLst>
              <a:ext uri="{FF2B5EF4-FFF2-40B4-BE49-F238E27FC236}">
                <a16:creationId xmlns:a16="http://schemas.microsoft.com/office/drawing/2014/main" id="{73D2E6B9-74E3-6C45-8A9B-0580722B4F1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344035" y="5164337"/>
            <a:ext cx="642572" cy="365126"/>
          </a:xfrm>
          <a:prstGeom prst="rect">
            <a:avLst/>
          </a:prstGeom>
        </p:spPr>
        <p:txBody>
          <a:bodyPr anchor="t"/>
          <a:lstStyle>
            <a:lvl1pPr algn="r"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7</a:t>
            </a:r>
          </a:p>
        </p:txBody>
      </p:sp>
      <p:sp>
        <p:nvSpPr>
          <p:cNvPr id="36" name="Textplatzhalter 12">
            <a:extLst>
              <a:ext uri="{FF2B5EF4-FFF2-40B4-BE49-F238E27FC236}">
                <a16:creationId xmlns:a16="http://schemas.microsoft.com/office/drawing/2014/main" id="{B872768B-9084-C94E-916F-D5070E60439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344038" y="5713446"/>
            <a:ext cx="642572" cy="365126"/>
          </a:xfrm>
          <a:prstGeom prst="rect">
            <a:avLst/>
          </a:prstGeom>
        </p:spPr>
        <p:txBody>
          <a:bodyPr anchor="t"/>
          <a:lstStyle>
            <a:lvl1pPr algn="r"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8</a:t>
            </a:r>
          </a:p>
        </p:txBody>
      </p:sp>
      <p:sp>
        <p:nvSpPr>
          <p:cNvPr id="38" name="Textplatzhalter 11">
            <a:extLst>
              <a:ext uri="{FF2B5EF4-FFF2-40B4-BE49-F238E27FC236}">
                <a16:creationId xmlns:a16="http://schemas.microsoft.com/office/drawing/2014/main" id="{C1F60F98-2DA7-F942-8ABC-B442104FB7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8802" y="1069274"/>
            <a:ext cx="6147804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  <p:pic>
        <p:nvPicPr>
          <p:cNvPr id="39" name="Grafik 38">
            <a:extLst>
              <a:ext uri="{FF2B5EF4-FFF2-40B4-BE49-F238E27FC236}">
                <a16:creationId xmlns:a16="http://schemas.microsoft.com/office/drawing/2014/main" id="{935ED12C-7382-2E4E-9630-BF20B7F3631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54194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RED_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524DB25-5079-3B47-B924-B2E79D7F76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1" y="540000"/>
            <a:ext cx="6147805" cy="52422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AGENDA</a:t>
            </a:r>
            <a:endParaRPr lang="en-US" dirty="0"/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05A35E00-86E7-4C44-A1E9-916100B9A99D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7157156" y="0"/>
            <a:ext cx="5034844" cy="68580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Verdan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8" name="Textplatzhalter 11">
            <a:extLst>
              <a:ext uri="{FF2B5EF4-FFF2-40B4-BE49-F238E27FC236}">
                <a16:creationId xmlns:a16="http://schemas.microsoft.com/office/drawing/2014/main" id="{5EA04153-0E09-184E-9760-FD7A674DBB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8802" y="1069274"/>
            <a:ext cx="6147804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1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  <p:sp>
        <p:nvSpPr>
          <p:cNvPr id="41" name="Textplatzhalter 12">
            <a:extLst>
              <a:ext uri="{FF2B5EF4-FFF2-40B4-BE49-F238E27FC236}">
                <a16:creationId xmlns:a16="http://schemas.microsoft.com/office/drawing/2014/main" id="{055F8182-E024-2344-97FE-06A61592DA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53211" y="1870324"/>
            <a:ext cx="4434850" cy="365126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42" name="Textplatzhalter 12">
            <a:extLst>
              <a:ext uri="{FF2B5EF4-FFF2-40B4-BE49-F238E27FC236}">
                <a16:creationId xmlns:a16="http://schemas.microsoft.com/office/drawing/2014/main" id="{23917B3E-ECC2-F04D-8D30-06FC96B385B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753211" y="2416407"/>
            <a:ext cx="4434849" cy="365126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43" name="Textplatzhalter 12">
            <a:extLst>
              <a:ext uri="{FF2B5EF4-FFF2-40B4-BE49-F238E27FC236}">
                <a16:creationId xmlns:a16="http://schemas.microsoft.com/office/drawing/2014/main" id="{5B227F02-1438-2B49-B726-6181228DFC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753211" y="2962490"/>
            <a:ext cx="4434849" cy="365126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700" b="0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44" name="Textplatzhalter 12">
            <a:extLst>
              <a:ext uri="{FF2B5EF4-FFF2-40B4-BE49-F238E27FC236}">
                <a16:creationId xmlns:a16="http://schemas.microsoft.com/office/drawing/2014/main" id="{4067A255-7848-9C40-AA4A-0CD6181A9FD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753211" y="3508573"/>
            <a:ext cx="4434849" cy="365126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45" name="Textplatzhalter 12">
            <a:extLst>
              <a:ext uri="{FF2B5EF4-FFF2-40B4-BE49-F238E27FC236}">
                <a16:creationId xmlns:a16="http://schemas.microsoft.com/office/drawing/2014/main" id="{50EDA4FE-B0BB-2A4B-ADF8-50B932F6D79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53211" y="4054656"/>
            <a:ext cx="4434849" cy="365126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46" name="Textplatzhalter 12">
            <a:extLst>
              <a:ext uri="{FF2B5EF4-FFF2-40B4-BE49-F238E27FC236}">
                <a16:creationId xmlns:a16="http://schemas.microsoft.com/office/drawing/2014/main" id="{02CB96ED-4817-A445-AF64-964670CAB14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753211" y="4600739"/>
            <a:ext cx="4434849" cy="365126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47" name="Textplatzhalter 12">
            <a:extLst>
              <a:ext uri="{FF2B5EF4-FFF2-40B4-BE49-F238E27FC236}">
                <a16:creationId xmlns:a16="http://schemas.microsoft.com/office/drawing/2014/main" id="{F2787445-2188-5140-9637-D7B27328516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753211" y="5146822"/>
            <a:ext cx="4434849" cy="365126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48" name="Textplatzhalter 12">
            <a:extLst>
              <a:ext uri="{FF2B5EF4-FFF2-40B4-BE49-F238E27FC236}">
                <a16:creationId xmlns:a16="http://schemas.microsoft.com/office/drawing/2014/main" id="{8815740C-1B31-BF47-852B-C556EB3CF27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8800" y="1870324"/>
            <a:ext cx="758430" cy="365126"/>
          </a:xfrm>
          <a:prstGeom prst="rect">
            <a:avLst/>
          </a:prstGeom>
        </p:spPr>
        <p:txBody>
          <a:bodyPr anchor="t"/>
          <a:lstStyle>
            <a:lvl1pPr algn="l">
              <a:buClr>
                <a:schemeClr val="tx2"/>
              </a:buClr>
              <a:buFont typeface="Wingdings" pitchFamily="2" charset="2"/>
              <a:buNone/>
              <a:defRPr sz="1700" b="1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I</a:t>
            </a:r>
          </a:p>
        </p:txBody>
      </p:sp>
      <p:sp>
        <p:nvSpPr>
          <p:cNvPr id="49" name="Textplatzhalter 12">
            <a:extLst>
              <a:ext uri="{FF2B5EF4-FFF2-40B4-BE49-F238E27FC236}">
                <a16:creationId xmlns:a16="http://schemas.microsoft.com/office/drawing/2014/main" id="{6E6E6DB9-D51B-F447-A96E-0D0E6BAA783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0742" y="2417059"/>
            <a:ext cx="758431" cy="365126"/>
          </a:xfrm>
          <a:prstGeom prst="rect">
            <a:avLst/>
          </a:prstGeom>
        </p:spPr>
        <p:txBody>
          <a:bodyPr anchor="t"/>
          <a:lstStyle>
            <a:lvl1pPr algn="l">
              <a:buClr>
                <a:schemeClr val="tx2"/>
              </a:buClr>
              <a:buFont typeface="Wingdings" pitchFamily="2" charset="2"/>
              <a:buNone/>
              <a:defRPr sz="1700" b="1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II</a:t>
            </a:r>
          </a:p>
        </p:txBody>
      </p:sp>
      <p:sp>
        <p:nvSpPr>
          <p:cNvPr id="50" name="Textplatzhalter 12">
            <a:extLst>
              <a:ext uri="{FF2B5EF4-FFF2-40B4-BE49-F238E27FC236}">
                <a16:creationId xmlns:a16="http://schemas.microsoft.com/office/drawing/2014/main" id="{5ECE0425-5380-D54F-8969-C19B89D54A4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0741" y="2963794"/>
            <a:ext cx="758432" cy="365126"/>
          </a:xfrm>
          <a:prstGeom prst="rect">
            <a:avLst/>
          </a:prstGeom>
        </p:spPr>
        <p:txBody>
          <a:bodyPr anchor="t"/>
          <a:lstStyle>
            <a:lvl1pPr algn="l">
              <a:buClr>
                <a:schemeClr val="tx2"/>
              </a:buClr>
              <a:buFont typeface="Wingdings" pitchFamily="2" charset="2"/>
              <a:buNone/>
              <a:defRPr sz="1700" b="1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III</a:t>
            </a:r>
          </a:p>
        </p:txBody>
      </p:sp>
      <p:sp>
        <p:nvSpPr>
          <p:cNvPr id="51" name="Textplatzhalter 12">
            <a:extLst>
              <a:ext uri="{FF2B5EF4-FFF2-40B4-BE49-F238E27FC236}">
                <a16:creationId xmlns:a16="http://schemas.microsoft.com/office/drawing/2014/main" id="{C57F272E-254A-CD43-A687-89C581CCF64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0741" y="3510529"/>
            <a:ext cx="758432" cy="365126"/>
          </a:xfrm>
          <a:prstGeom prst="rect">
            <a:avLst/>
          </a:prstGeom>
        </p:spPr>
        <p:txBody>
          <a:bodyPr anchor="t"/>
          <a:lstStyle>
            <a:lvl1pPr algn="l">
              <a:buClr>
                <a:schemeClr val="tx2"/>
              </a:buClr>
              <a:buFont typeface="Wingdings" pitchFamily="2" charset="2"/>
              <a:buNone/>
              <a:defRPr sz="1700" b="1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IV</a:t>
            </a:r>
          </a:p>
        </p:txBody>
      </p:sp>
      <p:sp>
        <p:nvSpPr>
          <p:cNvPr id="52" name="Textplatzhalter 12">
            <a:extLst>
              <a:ext uri="{FF2B5EF4-FFF2-40B4-BE49-F238E27FC236}">
                <a16:creationId xmlns:a16="http://schemas.microsoft.com/office/drawing/2014/main" id="{1C6A18B8-2A51-9948-828B-498969DDC5B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741" y="4057264"/>
            <a:ext cx="758432" cy="365126"/>
          </a:xfrm>
          <a:prstGeom prst="rect">
            <a:avLst/>
          </a:prstGeom>
        </p:spPr>
        <p:txBody>
          <a:bodyPr anchor="t"/>
          <a:lstStyle>
            <a:lvl1pPr algn="l">
              <a:buClr>
                <a:schemeClr val="tx2"/>
              </a:buClr>
              <a:buFont typeface="Wingdings" pitchFamily="2" charset="2"/>
              <a:buNone/>
              <a:defRPr sz="1700" b="1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V</a:t>
            </a:r>
          </a:p>
        </p:txBody>
      </p:sp>
      <p:sp>
        <p:nvSpPr>
          <p:cNvPr id="56" name="Textplatzhalter 12">
            <a:extLst>
              <a:ext uri="{FF2B5EF4-FFF2-40B4-BE49-F238E27FC236}">
                <a16:creationId xmlns:a16="http://schemas.microsoft.com/office/drawing/2014/main" id="{94E9500B-050A-1F4B-8D0B-1B20657420C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0741" y="4603999"/>
            <a:ext cx="758432" cy="365126"/>
          </a:xfrm>
          <a:prstGeom prst="rect">
            <a:avLst/>
          </a:prstGeom>
        </p:spPr>
        <p:txBody>
          <a:bodyPr anchor="t"/>
          <a:lstStyle>
            <a:lvl1pPr algn="l">
              <a:buClr>
                <a:schemeClr val="tx2"/>
              </a:buClr>
              <a:buFont typeface="Wingdings" pitchFamily="2" charset="2"/>
              <a:buNone/>
              <a:defRPr sz="1700" b="1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VI</a:t>
            </a:r>
          </a:p>
        </p:txBody>
      </p:sp>
      <p:sp>
        <p:nvSpPr>
          <p:cNvPr id="57" name="Textplatzhalter 12">
            <a:extLst>
              <a:ext uri="{FF2B5EF4-FFF2-40B4-BE49-F238E27FC236}">
                <a16:creationId xmlns:a16="http://schemas.microsoft.com/office/drawing/2014/main" id="{EBAEEE3C-8D16-534C-B323-D55A5E418BA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0741" y="5150734"/>
            <a:ext cx="758434" cy="365126"/>
          </a:xfrm>
          <a:prstGeom prst="rect">
            <a:avLst/>
          </a:prstGeom>
        </p:spPr>
        <p:txBody>
          <a:bodyPr anchor="t"/>
          <a:lstStyle>
            <a:lvl1pPr algn="l">
              <a:buClr>
                <a:schemeClr val="tx2"/>
              </a:buClr>
              <a:buFont typeface="Wingdings" pitchFamily="2" charset="2"/>
              <a:buNone/>
              <a:defRPr sz="1700" b="1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VII</a:t>
            </a:r>
          </a:p>
        </p:txBody>
      </p:sp>
      <p:sp>
        <p:nvSpPr>
          <p:cNvPr id="58" name="Textplatzhalter 12">
            <a:extLst>
              <a:ext uri="{FF2B5EF4-FFF2-40B4-BE49-F238E27FC236}">
                <a16:creationId xmlns:a16="http://schemas.microsoft.com/office/drawing/2014/main" id="{DE41C35A-8B20-D944-A2A8-A57C6942F06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753211" y="5692902"/>
            <a:ext cx="4434850" cy="365126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59" name="Textplatzhalter 12">
            <a:extLst>
              <a:ext uri="{FF2B5EF4-FFF2-40B4-BE49-F238E27FC236}">
                <a16:creationId xmlns:a16="http://schemas.microsoft.com/office/drawing/2014/main" id="{25BEAA7B-A89A-A04A-9925-AC215CE30F2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38800" y="5697472"/>
            <a:ext cx="758434" cy="365126"/>
          </a:xfrm>
          <a:prstGeom prst="rect">
            <a:avLst/>
          </a:prstGeom>
        </p:spPr>
        <p:txBody>
          <a:bodyPr anchor="t"/>
          <a:lstStyle>
            <a:lvl1pPr algn="l">
              <a:buClr>
                <a:schemeClr val="tx2"/>
              </a:buClr>
              <a:buFont typeface="Wingdings" pitchFamily="2" charset="2"/>
              <a:buNone/>
              <a:defRPr sz="1700" b="1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VIII</a:t>
            </a:r>
          </a:p>
        </p:txBody>
      </p:sp>
      <p:sp>
        <p:nvSpPr>
          <p:cNvPr id="60" name="Textplatzhalter 12">
            <a:extLst>
              <a:ext uri="{FF2B5EF4-FFF2-40B4-BE49-F238E27FC236}">
                <a16:creationId xmlns:a16="http://schemas.microsoft.com/office/drawing/2014/main" id="{9B9B94EA-3BAA-284F-BD1D-2776B6778B5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344038" y="1869671"/>
            <a:ext cx="642569" cy="365126"/>
          </a:xfrm>
          <a:prstGeom prst="rect">
            <a:avLst/>
          </a:prstGeom>
        </p:spPr>
        <p:txBody>
          <a:bodyPr anchor="t"/>
          <a:lstStyle>
            <a:lvl1pPr algn="r"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61" name="Textplatzhalter 12">
            <a:extLst>
              <a:ext uri="{FF2B5EF4-FFF2-40B4-BE49-F238E27FC236}">
                <a16:creationId xmlns:a16="http://schemas.microsoft.com/office/drawing/2014/main" id="{7A9C7E7E-7575-E441-871C-E35D13D622A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344037" y="2416057"/>
            <a:ext cx="642570" cy="365126"/>
          </a:xfrm>
          <a:prstGeom prst="rect">
            <a:avLst/>
          </a:prstGeom>
        </p:spPr>
        <p:txBody>
          <a:bodyPr anchor="t"/>
          <a:lstStyle>
            <a:lvl1pPr algn="r"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62" name="Textplatzhalter 12">
            <a:extLst>
              <a:ext uri="{FF2B5EF4-FFF2-40B4-BE49-F238E27FC236}">
                <a16:creationId xmlns:a16="http://schemas.microsoft.com/office/drawing/2014/main" id="{36437B73-B5B1-1241-8E04-D2B6B5D26E5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344035" y="2962443"/>
            <a:ext cx="642571" cy="365126"/>
          </a:xfrm>
          <a:prstGeom prst="rect">
            <a:avLst/>
          </a:prstGeom>
        </p:spPr>
        <p:txBody>
          <a:bodyPr anchor="t"/>
          <a:lstStyle>
            <a:lvl1pPr algn="r"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63" name="Textplatzhalter 12">
            <a:extLst>
              <a:ext uri="{FF2B5EF4-FFF2-40B4-BE49-F238E27FC236}">
                <a16:creationId xmlns:a16="http://schemas.microsoft.com/office/drawing/2014/main" id="{F400FAD4-CE41-E44E-88CD-2491BCB5B88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344035" y="3508829"/>
            <a:ext cx="642571" cy="365126"/>
          </a:xfrm>
          <a:prstGeom prst="rect">
            <a:avLst/>
          </a:prstGeom>
        </p:spPr>
        <p:txBody>
          <a:bodyPr anchor="t"/>
          <a:lstStyle>
            <a:lvl1pPr algn="r"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64" name="Textplatzhalter 12">
            <a:extLst>
              <a:ext uri="{FF2B5EF4-FFF2-40B4-BE49-F238E27FC236}">
                <a16:creationId xmlns:a16="http://schemas.microsoft.com/office/drawing/2014/main" id="{A06B5ADE-F3C4-6E49-8792-8377622CCCD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344035" y="4055215"/>
            <a:ext cx="642571" cy="365126"/>
          </a:xfrm>
          <a:prstGeom prst="rect">
            <a:avLst/>
          </a:prstGeom>
        </p:spPr>
        <p:txBody>
          <a:bodyPr anchor="t"/>
          <a:lstStyle>
            <a:lvl1pPr algn="r"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65" name="Textplatzhalter 12">
            <a:extLst>
              <a:ext uri="{FF2B5EF4-FFF2-40B4-BE49-F238E27FC236}">
                <a16:creationId xmlns:a16="http://schemas.microsoft.com/office/drawing/2014/main" id="{25280A77-9EB4-FE4B-8BA5-15622B3FE1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344035" y="4601601"/>
            <a:ext cx="642571" cy="365126"/>
          </a:xfrm>
          <a:prstGeom prst="rect">
            <a:avLst/>
          </a:prstGeom>
        </p:spPr>
        <p:txBody>
          <a:bodyPr anchor="t"/>
          <a:lstStyle>
            <a:lvl1pPr algn="r"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6</a:t>
            </a:r>
          </a:p>
        </p:txBody>
      </p:sp>
      <p:sp>
        <p:nvSpPr>
          <p:cNvPr id="66" name="Textplatzhalter 12">
            <a:extLst>
              <a:ext uri="{FF2B5EF4-FFF2-40B4-BE49-F238E27FC236}">
                <a16:creationId xmlns:a16="http://schemas.microsoft.com/office/drawing/2014/main" id="{8EAB6284-4F3F-C54F-A011-17F1DD672C9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344035" y="5147987"/>
            <a:ext cx="642572" cy="365126"/>
          </a:xfrm>
          <a:prstGeom prst="rect">
            <a:avLst/>
          </a:prstGeom>
        </p:spPr>
        <p:txBody>
          <a:bodyPr anchor="t"/>
          <a:lstStyle>
            <a:lvl1pPr algn="r"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7</a:t>
            </a:r>
          </a:p>
        </p:txBody>
      </p:sp>
      <p:sp>
        <p:nvSpPr>
          <p:cNvPr id="67" name="Textplatzhalter 12">
            <a:extLst>
              <a:ext uri="{FF2B5EF4-FFF2-40B4-BE49-F238E27FC236}">
                <a16:creationId xmlns:a16="http://schemas.microsoft.com/office/drawing/2014/main" id="{854EDE26-CBDF-9F45-A9A4-ACDE84142F7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344038" y="5694376"/>
            <a:ext cx="642572" cy="365126"/>
          </a:xfrm>
          <a:prstGeom prst="rect">
            <a:avLst/>
          </a:prstGeom>
        </p:spPr>
        <p:txBody>
          <a:bodyPr anchor="t"/>
          <a:lstStyle>
            <a:lvl1pPr algn="r"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8</a:t>
            </a: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B0EB4010-63D5-4044-99BD-6F8B8838D2A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4" y="6376778"/>
            <a:ext cx="1660525" cy="336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362506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1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524DB25-5079-3B47-B924-B2E79D7F76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1" y="540000"/>
            <a:ext cx="10514397" cy="52422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cap="all" baseline="0"/>
            </a:lvl1pPr>
          </a:lstStyle>
          <a:p>
            <a:r>
              <a:rPr lang="de-DE" dirty="0"/>
              <a:t>PAGE TITLE</a:t>
            </a:r>
            <a:endParaRPr lang="en-US" dirty="0"/>
          </a:p>
        </p:txBody>
      </p:sp>
      <p:sp>
        <p:nvSpPr>
          <p:cNvPr id="38" name="Textplatzhalter 11">
            <a:extLst>
              <a:ext uri="{FF2B5EF4-FFF2-40B4-BE49-F238E27FC236}">
                <a16:creationId xmlns:a16="http://schemas.microsoft.com/office/drawing/2014/main" id="{4A0923F3-F5BE-D145-B265-9C33EB75C1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8802" y="1069274"/>
            <a:ext cx="10514398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6D7C3412-7735-7247-91A1-A2611C5024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5200" y="1772816"/>
            <a:ext cx="10521600" cy="365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917B116D-F8DB-4F46-B183-974075F5AE5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C49EB514-20AB-FF4A-8B52-57D650FE989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35201" y="2088001"/>
            <a:ext cx="10517998" cy="398887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buNone/>
              <a:defRPr sz="1700">
                <a:solidFill>
                  <a:schemeClr val="bg2"/>
                </a:solidFill>
              </a:defRPr>
            </a:lvl1pPr>
            <a:lvl2pPr marL="180000" indent="-180000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defRPr sz="1700">
                <a:solidFill>
                  <a:schemeClr val="bg2"/>
                </a:solidFill>
              </a:defRPr>
            </a:lvl2pPr>
            <a:lvl3pPr marL="360000" indent="-180000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defRPr sz="1700">
                <a:solidFill>
                  <a:schemeClr val="bg2"/>
                </a:solidFill>
              </a:defRPr>
            </a:lvl3pPr>
            <a:lvl4pPr marL="540000" indent="-180000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defRPr sz="1700">
                <a:solidFill>
                  <a:schemeClr val="bg2"/>
                </a:solidFill>
              </a:defRPr>
            </a:lvl4pPr>
            <a:lvl5pPr marL="363600" indent="-363600">
              <a:lnSpc>
                <a:spcPct val="150000"/>
              </a:lnSpc>
              <a:buClr>
                <a:schemeClr val="tx2"/>
              </a:buClr>
              <a:buFont typeface="+mj-lt"/>
              <a:buAutoNum type="arabicPeriod"/>
              <a:defRPr sz="1700">
                <a:solidFill>
                  <a:schemeClr val="bg2"/>
                </a:solidFill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74C57A9C-062D-3E47-96C7-BA97A006137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23248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917B116D-F8DB-4F46-B183-974075F5AE5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C49EB514-20AB-FF4A-8B52-57D650FE989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35201" y="1763486"/>
            <a:ext cx="10517998" cy="431339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buNone/>
              <a:defRPr sz="1700">
                <a:solidFill>
                  <a:schemeClr val="bg2"/>
                </a:solidFill>
              </a:defRPr>
            </a:lvl1pPr>
            <a:lvl2pPr marL="180000" indent="-180000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defRPr sz="1700">
                <a:solidFill>
                  <a:schemeClr val="bg2"/>
                </a:solidFill>
              </a:defRPr>
            </a:lvl2pPr>
            <a:lvl3pPr marL="360000" indent="-180000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defRPr sz="1700">
                <a:solidFill>
                  <a:schemeClr val="bg2"/>
                </a:solidFill>
              </a:defRPr>
            </a:lvl3pPr>
            <a:lvl4pPr marL="540000" indent="-180000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defRPr sz="1700">
                <a:solidFill>
                  <a:schemeClr val="bg2"/>
                </a:solidFill>
              </a:defRPr>
            </a:lvl4pPr>
            <a:lvl5pPr marL="363600" indent="-363600">
              <a:lnSpc>
                <a:spcPct val="150000"/>
              </a:lnSpc>
              <a:buClr>
                <a:schemeClr val="tx2"/>
              </a:buClr>
              <a:buFont typeface="+mj-lt"/>
              <a:buAutoNum type="arabicPeriod"/>
              <a:defRPr sz="1700">
                <a:solidFill>
                  <a:schemeClr val="bg2"/>
                </a:solidFill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F93F7D60-30CD-284D-95B8-3D61C4F04A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  <p:sp>
        <p:nvSpPr>
          <p:cNvPr id="7" name="Titel 1">
            <a:extLst>
              <a:ext uri="{FF2B5EF4-FFF2-40B4-BE49-F238E27FC236}">
                <a16:creationId xmlns:a16="http://schemas.microsoft.com/office/drawing/2014/main" id="{ACECC83C-E339-DD4A-AD39-385669C1DA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1" y="540000"/>
            <a:ext cx="10514397" cy="52422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cap="all" baseline="0"/>
            </a:lvl1pPr>
          </a:lstStyle>
          <a:p>
            <a:r>
              <a:rPr lang="de-DE" dirty="0"/>
              <a:t>PAGE TITLE</a:t>
            </a:r>
            <a:endParaRPr lang="en-US" dirty="0"/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CFE49D4F-7A10-D840-B6E7-16AE451E559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8802" y="1069274"/>
            <a:ext cx="10514398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</p:spTree>
    <p:extLst>
      <p:ext uri="{BB962C8B-B14F-4D97-AF65-F5344CB8AC3E}">
        <p14:creationId xmlns:p14="http://schemas.microsoft.com/office/powerpoint/2010/main" val="20764429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SLIDE_RED">
    <p:bg>
      <p:bgPr>
        <a:solidFill>
          <a:schemeClr val="tx2">
            <a:alpha val="9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2A77DB7E-E139-7542-BCA9-1542BD0F501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1653" y="1070512"/>
            <a:ext cx="3291793" cy="667900"/>
          </a:xfrm>
          <a:prstGeom prst="rect">
            <a:avLst/>
          </a:prstGeom>
        </p:spPr>
      </p:pic>
      <p:sp>
        <p:nvSpPr>
          <p:cNvPr id="7" name="Titelplatzhalter 1">
            <a:extLst>
              <a:ext uri="{FF2B5EF4-FFF2-40B4-BE49-F238E27FC236}">
                <a16:creationId xmlns:a16="http://schemas.microsoft.com/office/drawing/2014/main" id="{CE778C7D-267C-3F44-9ECF-1822E2B83C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748404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>
              <a:defRPr sz="3400" b="1" i="0" cap="all" baseline="0">
                <a:solidFill>
                  <a:schemeClr val="bg1"/>
                </a:solidFill>
                <a:latin typeface="Verdana" panose="020B0604030504040204" pitchFamily="34" charset="0"/>
              </a:defRPr>
            </a:lvl1pPr>
          </a:lstStyle>
          <a:p>
            <a:r>
              <a:rPr lang="de-DE" dirty="0"/>
              <a:t>ADDRESSEE</a:t>
            </a:r>
            <a:endParaRPr lang="en-US" dirty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6D617830-E48B-FB4D-B605-CFA75392A56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5073967"/>
            <a:ext cx="10515600" cy="10087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OUR OFFER</a:t>
            </a:r>
          </a:p>
          <a:p>
            <a:pPr lvl="0"/>
            <a:r>
              <a:rPr lang="de-DE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12753049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2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F884E593-828D-7D41-B9D2-3802E43B35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5200" y="2088000"/>
            <a:ext cx="5121731" cy="3988880"/>
          </a:xfrm>
          <a:prstGeom prst="rect">
            <a:avLst/>
          </a:prstGeom>
        </p:spPr>
        <p:txBody>
          <a:bodyPr/>
          <a:lstStyle>
            <a:lvl1pPr marL="0" indent="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285750" indent="-28575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360000" indent="-18000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540000" indent="-18000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365125" indent="-365125" algn="just">
              <a:lnSpc>
                <a:spcPct val="150000"/>
              </a:lnSpc>
              <a:buClr>
                <a:schemeClr val="tx2"/>
              </a:buClr>
              <a:buFont typeface="+mj-lt"/>
              <a:buAutoNum type="arabicPeriod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</p:txBody>
      </p:sp>
      <p:sp>
        <p:nvSpPr>
          <p:cNvPr id="18" name="Textplatzhalter 4">
            <a:extLst>
              <a:ext uri="{FF2B5EF4-FFF2-40B4-BE49-F238E27FC236}">
                <a16:creationId xmlns:a16="http://schemas.microsoft.com/office/drawing/2014/main" id="{51AAE0D2-3733-1B44-90D0-9C9CBF81DC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5200" y="1772816"/>
            <a:ext cx="5122105" cy="365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3DE5B0BD-F168-F346-9878-1B08AAC70FD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6794" y="2088000"/>
            <a:ext cx="5096180" cy="3988880"/>
          </a:xfrm>
          <a:prstGeom prst="rect">
            <a:avLst/>
          </a:prstGeom>
        </p:spPr>
        <p:txBody>
          <a:bodyPr/>
          <a:lstStyle>
            <a:lvl1pPr marL="0" indent="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285750" indent="-28575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360000" indent="-18000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540000" indent="-18000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365125" indent="-365125" algn="just">
              <a:lnSpc>
                <a:spcPct val="150000"/>
              </a:lnSpc>
              <a:buClr>
                <a:schemeClr val="tx2"/>
              </a:buClr>
              <a:buFont typeface="+mj-lt"/>
              <a:buAutoNum type="arabicPeriod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471A7698-9157-5149-A99F-4AE18461277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56794" y="1772816"/>
            <a:ext cx="5096180" cy="365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49DDE15-0F1C-5C4F-9DC6-58E0E26F7ED4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0896B2AC-D0B8-5D46-9667-E9241EE96C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  <p:sp>
        <p:nvSpPr>
          <p:cNvPr id="10" name="Titel 1">
            <a:extLst>
              <a:ext uri="{FF2B5EF4-FFF2-40B4-BE49-F238E27FC236}">
                <a16:creationId xmlns:a16="http://schemas.microsoft.com/office/drawing/2014/main" id="{F2EDF365-DFB3-4A47-8D88-6962B843D1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1" y="540000"/>
            <a:ext cx="10514397" cy="52422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cap="all" baseline="0"/>
            </a:lvl1pPr>
          </a:lstStyle>
          <a:p>
            <a:r>
              <a:rPr lang="de-DE" dirty="0"/>
              <a:t>PAGE TITLE</a:t>
            </a:r>
            <a:endParaRPr lang="en-US" dirty="0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76308D57-AABC-624C-96E3-4D073C59AF7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8802" y="1069274"/>
            <a:ext cx="10514398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</p:spTree>
    <p:extLst>
      <p:ext uri="{BB962C8B-B14F-4D97-AF65-F5344CB8AC3E}">
        <p14:creationId xmlns:p14="http://schemas.microsoft.com/office/powerpoint/2010/main" val="216735777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F884E593-828D-7D41-B9D2-3802E43B35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5200" y="1773044"/>
            <a:ext cx="5121731" cy="4303836"/>
          </a:xfrm>
          <a:prstGeom prst="rect">
            <a:avLst/>
          </a:prstGeom>
        </p:spPr>
        <p:txBody>
          <a:bodyPr/>
          <a:lstStyle>
            <a:lvl1pPr marL="0" indent="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342900" indent="-34290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360000" indent="-18000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540000" indent="-18000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365125" indent="-365125" algn="just">
              <a:lnSpc>
                <a:spcPct val="150000"/>
              </a:lnSpc>
              <a:buClr>
                <a:schemeClr val="tx2"/>
              </a:buClr>
              <a:buFont typeface="+mj-lt"/>
              <a:buAutoNum type="arabicPeriod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3DE5B0BD-F168-F346-9878-1B08AAC70FD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6794" y="1773044"/>
            <a:ext cx="5096180" cy="4303836"/>
          </a:xfrm>
          <a:prstGeom prst="rect">
            <a:avLst/>
          </a:prstGeom>
        </p:spPr>
        <p:txBody>
          <a:bodyPr/>
          <a:lstStyle>
            <a:lvl1pPr marL="0" indent="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285750" indent="-28575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360000" indent="-18000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540000" indent="-18000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365125" indent="-365125" algn="just">
              <a:lnSpc>
                <a:spcPct val="150000"/>
              </a:lnSpc>
              <a:buClr>
                <a:schemeClr val="tx2"/>
              </a:buClr>
              <a:buFont typeface="+mj-lt"/>
              <a:buAutoNum type="arabicPeriod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49DDE15-0F1C-5C4F-9DC6-58E0E26F7ED4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E207D126-92AC-CA4B-8CF9-3AC1CA07030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96338D0D-3480-B54C-BD2A-342FFD54BF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1" y="540000"/>
            <a:ext cx="10514397" cy="52422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cap="all" baseline="0"/>
            </a:lvl1pPr>
          </a:lstStyle>
          <a:p>
            <a:r>
              <a:rPr lang="de-DE" dirty="0"/>
              <a:t>PAGE TITLE</a:t>
            </a:r>
            <a:endParaRPr lang="en-US" dirty="0"/>
          </a:p>
        </p:txBody>
      </p:sp>
      <p:sp>
        <p:nvSpPr>
          <p:cNvPr id="9" name="Textplatzhalter 11">
            <a:extLst>
              <a:ext uri="{FF2B5EF4-FFF2-40B4-BE49-F238E27FC236}">
                <a16:creationId xmlns:a16="http://schemas.microsoft.com/office/drawing/2014/main" id="{B10476A5-6682-394F-91EA-F3F1D28BA6C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8802" y="1069274"/>
            <a:ext cx="10514398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</p:spTree>
    <p:extLst>
      <p:ext uri="{BB962C8B-B14F-4D97-AF65-F5344CB8AC3E}">
        <p14:creationId xmlns:p14="http://schemas.microsoft.com/office/powerpoint/2010/main" val="25071445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7342000-CD4C-C444-8003-5C5128093217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80DB802C-75C1-FE41-BD37-344F0273611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  <p:sp>
        <p:nvSpPr>
          <p:cNvPr id="6" name="Titel 1">
            <a:extLst>
              <a:ext uri="{FF2B5EF4-FFF2-40B4-BE49-F238E27FC236}">
                <a16:creationId xmlns:a16="http://schemas.microsoft.com/office/drawing/2014/main" id="{8582CE6E-AB27-5341-A202-06C95C11EF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1" y="540000"/>
            <a:ext cx="10514397" cy="52422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cap="all" baseline="0"/>
            </a:lvl1pPr>
          </a:lstStyle>
          <a:p>
            <a:r>
              <a:rPr lang="de-DE" dirty="0"/>
              <a:t>PAGE TITLE</a:t>
            </a:r>
            <a:endParaRPr lang="en-US" dirty="0"/>
          </a:p>
        </p:txBody>
      </p:sp>
      <p:sp>
        <p:nvSpPr>
          <p:cNvPr id="7" name="Textplatzhalter 11">
            <a:extLst>
              <a:ext uri="{FF2B5EF4-FFF2-40B4-BE49-F238E27FC236}">
                <a16:creationId xmlns:a16="http://schemas.microsoft.com/office/drawing/2014/main" id="{BF84FD7B-3524-BD43-8776-249C7212534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8802" y="1069274"/>
            <a:ext cx="10514398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</p:spTree>
    <p:extLst>
      <p:ext uri="{BB962C8B-B14F-4D97-AF65-F5344CB8AC3E}">
        <p14:creationId xmlns:p14="http://schemas.microsoft.com/office/powerpoint/2010/main" val="113635714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IMAGE_1.5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823FFA64-D9C6-E14D-9522-3C564B519C8B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013555" y="1940416"/>
            <a:ext cx="5248079" cy="4136463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7B035971-CE52-8F47-BD3A-A27F21AC8C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5200" y="2088001"/>
            <a:ext cx="4868969" cy="3988878"/>
          </a:xfrm>
          <a:prstGeom prst="rect">
            <a:avLst/>
          </a:prstGeom>
        </p:spPr>
        <p:txBody>
          <a:bodyPr/>
          <a:lstStyle>
            <a:lvl1pPr marL="0" indent="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285750" indent="-28575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360000" indent="-18000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540000" indent="-18000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365125" indent="-365125" algn="just">
              <a:lnSpc>
                <a:spcPct val="150000"/>
              </a:lnSpc>
              <a:buClr>
                <a:schemeClr val="tx2"/>
              </a:buClr>
              <a:buFont typeface="+mj-lt"/>
              <a:buAutoNum type="arabicPeriod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DB646C-FB9E-2D43-94C9-8A49B2F85D9B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198237BD-4FFA-A64F-940E-BAEEEFCB3A9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5200" y="1772816"/>
            <a:ext cx="4868969" cy="365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/>
              <a:t>Click to edit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0D086832-37BB-B34B-AC04-810CF03A699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D1AA9362-B534-794B-BA20-976784F6B1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1" y="540000"/>
            <a:ext cx="10514397" cy="52422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cap="all" baseline="0"/>
            </a:lvl1pPr>
          </a:lstStyle>
          <a:p>
            <a:r>
              <a:rPr lang="de-DE" dirty="0"/>
              <a:t>PAGE TITLE</a:t>
            </a:r>
            <a:endParaRPr lang="en-US" dirty="0"/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27C14BF1-D0C3-6646-AB64-31F6F66944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8802" y="1069274"/>
            <a:ext cx="10514398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</p:spTree>
    <p:extLst>
      <p:ext uri="{BB962C8B-B14F-4D97-AF65-F5344CB8AC3E}">
        <p14:creationId xmlns:p14="http://schemas.microsoft.com/office/powerpoint/2010/main" val="48499537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IMAGE_1.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823FFA64-D9C6-E14D-9522-3C564B519C8B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013555" y="1940416"/>
            <a:ext cx="5248079" cy="4136463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7B035971-CE52-8F47-BD3A-A27F21AC8C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5200" y="1757680"/>
            <a:ext cx="4868969" cy="4319199"/>
          </a:xfrm>
          <a:prstGeom prst="rect">
            <a:avLst/>
          </a:prstGeom>
        </p:spPr>
        <p:txBody>
          <a:bodyPr/>
          <a:lstStyle>
            <a:lvl1pPr marL="0" indent="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285750" indent="-28575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360000" indent="-18000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540000" indent="-18000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365125" indent="-365125" algn="just">
              <a:lnSpc>
                <a:spcPct val="150000"/>
              </a:lnSpc>
              <a:buClr>
                <a:schemeClr val="tx2"/>
              </a:buClr>
              <a:buFont typeface="+mj-lt"/>
              <a:buAutoNum type="arabicPeriod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DB646C-FB9E-2D43-94C9-8A49B2F85D9B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B6C22EDB-ECC2-DE45-A78B-E3D63F891E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BDC73A7F-AAD9-524F-B6C5-40E110564F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1" y="540000"/>
            <a:ext cx="10514397" cy="52422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cap="all" baseline="0"/>
            </a:lvl1pPr>
          </a:lstStyle>
          <a:p>
            <a:r>
              <a:rPr lang="de-DE" dirty="0"/>
              <a:t>PAGE TITLE</a:t>
            </a:r>
            <a:endParaRPr lang="en-US" dirty="0"/>
          </a:p>
        </p:txBody>
      </p:sp>
      <p:sp>
        <p:nvSpPr>
          <p:cNvPr id="9" name="Textplatzhalter 11">
            <a:extLst>
              <a:ext uri="{FF2B5EF4-FFF2-40B4-BE49-F238E27FC236}">
                <a16:creationId xmlns:a16="http://schemas.microsoft.com/office/drawing/2014/main" id="{28011C9F-B7BC-9F41-9208-2B3579FD284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8802" y="1069274"/>
            <a:ext cx="10514398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</p:spTree>
    <p:extLst>
      <p:ext uri="{BB962C8B-B14F-4D97-AF65-F5344CB8AC3E}">
        <p14:creationId xmlns:p14="http://schemas.microsoft.com/office/powerpoint/2010/main" val="5751698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_IMAGE_1.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823FFA64-D9C6-E14D-9522-3C564B519C8B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013555" y="1940416"/>
            <a:ext cx="5252439" cy="4136463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7B035971-CE52-8F47-BD3A-A27F21AC8C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5200" y="1838960"/>
            <a:ext cx="4868969" cy="4237919"/>
          </a:xfrm>
          <a:prstGeom prst="rect">
            <a:avLst/>
          </a:prstGeom>
        </p:spPr>
        <p:txBody>
          <a:bodyPr/>
          <a:lstStyle>
            <a:lvl1pPr marL="0" indent="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285750" indent="-28575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360000" indent="-18000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540000" indent="-18000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365125" indent="-365125" algn="just">
              <a:lnSpc>
                <a:spcPct val="150000"/>
              </a:lnSpc>
              <a:buClr>
                <a:schemeClr val="tx2"/>
              </a:buClr>
              <a:buFont typeface="+mj-lt"/>
              <a:buAutoNum type="arabicPeriod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DB646C-FB9E-2D43-94C9-8A49B2F85D9B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37D969DA-8248-A043-AC61-28FC33BBF74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406781B2-98DC-0E48-9F1F-F59BC23E6E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1" y="540000"/>
            <a:ext cx="10514397" cy="52422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cap="all" baseline="0"/>
            </a:lvl1pPr>
          </a:lstStyle>
          <a:p>
            <a:r>
              <a:rPr lang="de-DE" dirty="0"/>
              <a:t>PAGE TITLE</a:t>
            </a:r>
            <a:endParaRPr lang="en-US" dirty="0"/>
          </a:p>
        </p:txBody>
      </p:sp>
      <p:sp>
        <p:nvSpPr>
          <p:cNvPr id="9" name="Textplatzhalter 11">
            <a:extLst>
              <a:ext uri="{FF2B5EF4-FFF2-40B4-BE49-F238E27FC236}">
                <a16:creationId xmlns:a16="http://schemas.microsoft.com/office/drawing/2014/main" id="{612F4528-FA41-364A-9767-F1A35D74C4C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8802" y="1069274"/>
            <a:ext cx="10514398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</p:spTree>
    <p:extLst>
      <p:ext uri="{BB962C8B-B14F-4D97-AF65-F5344CB8AC3E}">
        <p14:creationId xmlns:p14="http://schemas.microsoft.com/office/powerpoint/2010/main" val="1971654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IMAGE_FULL_1.5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823FFA64-D9C6-E14D-9522-3C564B519C8B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479823" y="0"/>
            <a:ext cx="5712178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AE28A11F-6254-DB4A-B2C9-DF9F0658122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8801" y="1069274"/>
            <a:ext cx="5257199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0DE76F6-585A-8044-BD62-33502C1CD8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1" y="540000"/>
            <a:ext cx="5257199" cy="52422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cap="all" baseline="0"/>
            </a:lvl1pPr>
          </a:lstStyle>
          <a:p>
            <a:r>
              <a:rPr lang="de-DE" dirty="0"/>
              <a:t>PAGE TITLE</a:t>
            </a:r>
            <a:endParaRPr lang="en-US" dirty="0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7BC45803-8784-964C-AE4A-E387D83EC07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5200" y="1772816"/>
            <a:ext cx="5257198" cy="365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082E61B-7C4D-0842-BCF9-0C6A974323D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5200" y="2088001"/>
            <a:ext cx="5257198" cy="3988878"/>
          </a:xfrm>
          <a:prstGeom prst="rect">
            <a:avLst/>
          </a:prstGeom>
        </p:spPr>
        <p:txBody>
          <a:bodyPr/>
          <a:lstStyle>
            <a:lvl1pPr marL="0" indent="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285750" indent="-28575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360000" indent="-18000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540000" indent="-18000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365125" indent="-365125" algn="just">
              <a:lnSpc>
                <a:spcPct val="150000"/>
              </a:lnSpc>
              <a:buClr>
                <a:schemeClr val="tx2"/>
              </a:buClr>
              <a:buFont typeface="+mj-lt"/>
              <a:buAutoNum type="arabicPeriod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  <a:p>
            <a:pPr lvl="4"/>
            <a:endParaRPr lang="en-US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AA222826-39CE-084F-BFBA-C665FFFA38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015867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IMAGE_FULL_1.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823FFA64-D9C6-E14D-9522-3C564B519C8B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479823" y="0"/>
            <a:ext cx="5712178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BA97A5C3-A93D-8B4B-BF45-AA7D96A8230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5199" y="1757680"/>
            <a:ext cx="5257199" cy="4319199"/>
          </a:xfrm>
          <a:prstGeom prst="rect">
            <a:avLst/>
          </a:prstGeom>
        </p:spPr>
        <p:txBody>
          <a:bodyPr/>
          <a:lstStyle>
            <a:lvl1pPr marL="0" indent="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285750" indent="-28575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360000" indent="-18000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540000" indent="-18000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365125" indent="-365125" algn="just">
              <a:lnSpc>
                <a:spcPct val="150000"/>
              </a:lnSpc>
              <a:buClr>
                <a:schemeClr val="tx2"/>
              </a:buClr>
              <a:buFont typeface="+mj-lt"/>
              <a:buAutoNum type="arabicPeriod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  <a:p>
            <a:pPr lvl="4"/>
            <a:endParaRPr lang="en-US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27D6B38E-A7AE-7442-8D46-4E5B858ADCD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DB5AA0-5538-9240-A43F-1FA5CDF56D5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8801" y="1069274"/>
            <a:ext cx="5257199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  <p:sp>
        <p:nvSpPr>
          <p:cNvPr id="10" name="Titel 2">
            <a:extLst>
              <a:ext uri="{FF2B5EF4-FFF2-40B4-BE49-F238E27FC236}">
                <a16:creationId xmlns:a16="http://schemas.microsoft.com/office/drawing/2014/main" id="{6B0EAB06-DB12-AD44-8617-76B341EE59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1" y="540000"/>
            <a:ext cx="5257199" cy="52422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cap="all" baseline="0"/>
            </a:lvl1pPr>
          </a:lstStyle>
          <a:p>
            <a:r>
              <a:rPr lang="de-DE" dirty="0"/>
              <a:t>PAGE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391589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_IMAGE_FULL_1.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823FFA64-D9C6-E14D-9522-3C564B519C8B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479823" y="0"/>
            <a:ext cx="5712178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BA97A5C3-A93D-8B4B-BF45-AA7D96A8230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5199" y="1828800"/>
            <a:ext cx="5257199" cy="4248079"/>
          </a:xfrm>
          <a:prstGeom prst="rect">
            <a:avLst/>
          </a:prstGeom>
        </p:spPr>
        <p:txBody>
          <a:bodyPr/>
          <a:lstStyle>
            <a:lvl1pPr marL="0" indent="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285750" indent="-28575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360000" indent="-18000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540000" indent="-18000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365125" indent="-365125" algn="just">
              <a:lnSpc>
                <a:spcPct val="150000"/>
              </a:lnSpc>
              <a:buClr>
                <a:schemeClr val="tx2"/>
              </a:buClr>
              <a:buFont typeface="+mj-lt"/>
              <a:buAutoNum type="arabicPeriod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  <a:p>
            <a:pPr lvl="4"/>
            <a:endParaRPr lang="en-US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AA92952C-CB9B-3A43-89ED-78015A8A7D8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3540B0A5-4D14-0C42-A2CF-AD8AB8E4CAC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8801" y="1069274"/>
            <a:ext cx="5257199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  <p:sp>
        <p:nvSpPr>
          <p:cNvPr id="10" name="Titel 2">
            <a:extLst>
              <a:ext uri="{FF2B5EF4-FFF2-40B4-BE49-F238E27FC236}">
                <a16:creationId xmlns:a16="http://schemas.microsoft.com/office/drawing/2014/main" id="{056408DE-6836-1343-8CE7-6C9864ACB4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1" y="540000"/>
            <a:ext cx="5257199" cy="52422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cap="all" baseline="0"/>
            </a:lvl1pPr>
          </a:lstStyle>
          <a:p>
            <a:r>
              <a:rPr lang="de-DE" dirty="0"/>
              <a:t>PAGE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79201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MEDIA_WHIT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524DB25-5079-3B47-B924-B2E79D7F76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1" y="540000"/>
            <a:ext cx="10514397" cy="52422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cap="all" baseline="0"/>
            </a:lvl1pPr>
          </a:lstStyle>
          <a:p>
            <a:r>
              <a:rPr lang="de-DE" dirty="0"/>
              <a:t>PAGE TITLE</a:t>
            </a:r>
            <a:endParaRPr lang="en-US" dirty="0"/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F4688833-9B8E-6D44-9009-878E2167886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8801" y="1069274"/>
            <a:ext cx="10514395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2357D714-ABF5-654D-A74D-8CF328EA082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5200" y="1864800"/>
            <a:ext cx="10517562" cy="365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19" name="Foliennummernplatzhalter 18">
            <a:extLst>
              <a:ext uri="{FF2B5EF4-FFF2-40B4-BE49-F238E27FC236}">
                <a16:creationId xmlns:a16="http://schemas.microsoft.com/office/drawing/2014/main" id="{A0506E49-85D2-2E46-A276-9BAB13BEB9DC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FD1F5AA4-FDD7-6045-A84F-8120056F647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  <p:sp>
        <p:nvSpPr>
          <p:cNvPr id="12" name="Inhaltsplatzhalter 6">
            <a:extLst>
              <a:ext uri="{FF2B5EF4-FFF2-40B4-BE49-F238E27FC236}">
                <a16:creationId xmlns:a16="http://schemas.microsoft.com/office/drawing/2014/main" id="{C2102385-7D27-9E41-83B5-00B298033324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28048" y="2229925"/>
            <a:ext cx="10331270" cy="385282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50000"/>
              </a:lnSpc>
              <a:buClr>
                <a:schemeClr val="tx2"/>
              </a:buClr>
              <a:buFont typeface="Wingdings" pitchFamily="2" charset="2"/>
              <a:buNone/>
              <a:defRPr lang="de-DE" sz="17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180000" indent="-180000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sz="1700">
                <a:solidFill>
                  <a:schemeClr val="bg2"/>
                </a:solidFill>
              </a:defRPr>
            </a:lvl2pPr>
            <a:lvl3pPr marL="360000" indent="-180000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defRPr lang="de-DE" sz="1700" b="0" i="0" kern="1200" dirty="0" smtClean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540000" indent="-180000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defRPr lang="de-DE" sz="1700" b="0" i="0" kern="1200" dirty="0" smtClean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363600" indent="-363600">
              <a:lnSpc>
                <a:spcPct val="150000"/>
              </a:lnSpc>
              <a:buClr>
                <a:schemeClr val="tx2"/>
              </a:buClr>
              <a:buFont typeface="+mj-lt"/>
              <a:buAutoNum type="arabicPeriod"/>
              <a:defRPr lang="en-US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  <a:p>
            <a:pPr lvl="4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85608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platzhalter 1">
            <a:extLst>
              <a:ext uri="{FF2B5EF4-FFF2-40B4-BE49-F238E27FC236}">
                <a16:creationId xmlns:a16="http://schemas.microsoft.com/office/drawing/2014/main" id="{3F335040-8AB7-E94A-8E3A-71A9CD444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044868"/>
            <a:ext cx="6289849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>
              <a:defRPr sz="3400" b="1" i="0" cap="all" baseline="0">
                <a:solidFill>
                  <a:schemeClr val="tx2"/>
                </a:solidFill>
                <a:latin typeface="Verdana" panose="020B0604030504040204" pitchFamily="34" charset="0"/>
              </a:defRPr>
            </a:lvl1pPr>
          </a:lstStyle>
          <a:p>
            <a:r>
              <a:rPr lang="de-DE" dirty="0"/>
              <a:t>CHAPTER TITLE</a:t>
            </a:r>
            <a:endParaRPr lang="en-US" dirty="0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BAB1F598-146F-9848-ABEF-FAA1A5BC637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3417102"/>
            <a:ext cx="6289849" cy="10563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SUBTITLE LOREM IPSUM</a:t>
            </a: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E35203F4-E35C-0442-ABBB-6422AEB60596}"/>
              </a:ext>
            </a:extLst>
          </p:cNvPr>
          <p:cNvGrpSpPr/>
          <p:nvPr userDrawn="1"/>
        </p:nvGrpSpPr>
        <p:grpSpPr>
          <a:xfrm>
            <a:off x="7056150" y="0"/>
            <a:ext cx="5135850" cy="6858000"/>
            <a:chOff x="7056150" y="0"/>
            <a:chExt cx="5135850" cy="6858000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1B527EB5-A982-6347-B4A1-3908D7E0DD22}"/>
                </a:ext>
              </a:extLst>
            </p:cNvPr>
            <p:cNvSpPr/>
            <p:nvPr userDrawn="1"/>
          </p:nvSpPr>
          <p:spPr>
            <a:xfrm>
              <a:off x="9987280" y="0"/>
              <a:ext cx="2204720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htwinkliges Dreieck 11">
              <a:extLst>
                <a:ext uri="{FF2B5EF4-FFF2-40B4-BE49-F238E27FC236}">
                  <a16:creationId xmlns:a16="http://schemas.microsoft.com/office/drawing/2014/main" id="{E0DF4C61-45F5-6446-AF5A-3E2682B98354}"/>
                </a:ext>
              </a:extLst>
            </p:cNvPr>
            <p:cNvSpPr/>
            <p:nvPr userDrawn="1"/>
          </p:nvSpPr>
          <p:spPr>
            <a:xfrm flipH="1">
              <a:off x="7056150" y="0"/>
              <a:ext cx="2931126" cy="6858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1" name="Grafik 10">
            <a:extLst>
              <a:ext uri="{FF2B5EF4-FFF2-40B4-BE49-F238E27FC236}">
                <a16:creationId xmlns:a16="http://schemas.microsoft.com/office/drawing/2014/main" id="{D7CE01AA-D8E8-B24C-87F4-4709E2E2315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942960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MEDIA_WHIT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4">
            <a:extLst>
              <a:ext uri="{FF2B5EF4-FFF2-40B4-BE49-F238E27FC236}">
                <a16:creationId xmlns:a16="http://schemas.microsoft.com/office/drawing/2014/main" id="{A1125165-E996-ED44-9C2A-28115C90322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5200" y="1864800"/>
            <a:ext cx="5118989" cy="365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2C3860D9-0C73-1144-81FD-150AE021747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53201" y="1864800"/>
            <a:ext cx="5099788" cy="365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30" name="Foliennummernplatzhalter 8">
            <a:extLst>
              <a:ext uri="{FF2B5EF4-FFF2-40B4-BE49-F238E27FC236}">
                <a16:creationId xmlns:a16="http://schemas.microsoft.com/office/drawing/2014/main" id="{433BB5AB-9C8B-4B4B-9C59-5F131437133F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>
          <a:xfrm>
            <a:off x="10956843" y="6398000"/>
            <a:ext cx="396355" cy="365125"/>
          </a:xfrm>
        </p:spPr>
        <p:txBody>
          <a:bodyPr/>
          <a:lstStyle/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B78B87B-DF50-BD4B-B3BD-25DCCAAD72F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  <p:sp>
        <p:nvSpPr>
          <p:cNvPr id="13" name="Inhaltsplatzhalter 6">
            <a:extLst>
              <a:ext uri="{FF2B5EF4-FFF2-40B4-BE49-F238E27FC236}">
                <a16:creationId xmlns:a16="http://schemas.microsoft.com/office/drawing/2014/main" id="{85FD0CCF-04BD-0844-B49B-1BCA6D28B38C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30364" y="2229924"/>
            <a:ext cx="4916867" cy="3846955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50000"/>
              </a:lnSpc>
              <a:buNone/>
              <a:defRPr sz="1700">
                <a:solidFill>
                  <a:schemeClr val="bg2"/>
                </a:solidFill>
              </a:defRPr>
            </a:lvl1pPr>
            <a:lvl2pPr marL="180000" indent="-180000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defRPr sz="1700">
                <a:solidFill>
                  <a:schemeClr val="bg2"/>
                </a:solidFill>
              </a:defRPr>
            </a:lvl2pPr>
            <a:lvl3pPr marL="360000" indent="-180000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defRPr lang="de-DE" sz="1700" b="0" i="0" kern="1200" dirty="0" smtClean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540000" indent="-180000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defRPr lang="de-DE" sz="1700" b="0" i="0" kern="1200" dirty="0" smtClean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363600" indent="-363600">
              <a:lnSpc>
                <a:spcPct val="150000"/>
              </a:lnSpc>
              <a:buClr>
                <a:schemeClr val="tx2"/>
              </a:buClr>
              <a:buFont typeface="+mj-lt"/>
              <a:buAutoNum type="arabicPeriod"/>
              <a:defRPr lang="en-US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  <a:p>
            <a:pPr lvl="4"/>
            <a:endParaRPr lang="en-US" dirty="0"/>
          </a:p>
        </p:txBody>
      </p:sp>
      <p:sp>
        <p:nvSpPr>
          <p:cNvPr id="14" name="Inhaltsplatzhalter 6">
            <a:extLst>
              <a:ext uri="{FF2B5EF4-FFF2-40B4-BE49-F238E27FC236}">
                <a16:creationId xmlns:a16="http://schemas.microsoft.com/office/drawing/2014/main" id="{D4BA06E8-B2D0-6A44-8444-CBDE55E3B787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>
          <a:xfrm>
            <a:off x="6344771" y="2229924"/>
            <a:ext cx="4916867" cy="3846955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50000"/>
              </a:lnSpc>
              <a:buNone/>
              <a:defRPr sz="1700">
                <a:solidFill>
                  <a:schemeClr val="bg2"/>
                </a:solidFill>
              </a:defRPr>
            </a:lvl1pPr>
            <a:lvl2pPr marL="180000" indent="-180000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defRPr sz="1700">
                <a:solidFill>
                  <a:schemeClr val="bg2"/>
                </a:solidFill>
              </a:defRPr>
            </a:lvl2pPr>
            <a:lvl3pPr marL="360000" indent="-180000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defRPr lang="de-DE" sz="1700" b="0" i="0" kern="1200" dirty="0" smtClean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540000" indent="-180000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defRPr lang="de-DE" sz="1700" b="0" i="0" kern="1200" dirty="0" smtClean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363600" indent="-363600">
              <a:lnSpc>
                <a:spcPct val="150000"/>
              </a:lnSpc>
              <a:buClr>
                <a:schemeClr val="tx2"/>
              </a:buClr>
              <a:buFont typeface="+mj-lt"/>
              <a:buAutoNum type="arabicPeriod"/>
              <a:defRPr lang="en-US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  <a:p>
            <a:pPr lvl="4"/>
            <a:endParaRPr lang="en-US" dirty="0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A488BD9C-803A-7147-8130-31F25561BF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1" y="540000"/>
            <a:ext cx="10514397" cy="52422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cap="all" baseline="0"/>
            </a:lvl1pPr>
          </a:lstStyle>
          <a:p>
            <a:r>
              <a:rPr lang="de-DE" dirty="0"/>
              <a:t>PAGE TITLE</a:t>
            </a:r>
            <a:endParaRPr lang="en-US" dirty="0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641ED37D-3D86-0541-BA70-FF42193312C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8801" y="1069274"/>
            <a:ext cx="10514395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</p:spTree>
    <p:extLst>
      <p:ext uri="{BB962C8B-B14F-4D97-AF65-F5344CB8AC3E}">
        <p14:creationId xmlns:p14="http://schemas.microsoft.com/office/powerpoint/2010/main" val="18450301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MEDIA_RED_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75CACACB-E126-1B47-BAE9-647CEDDB5E6D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928047" y="2229925"/>
            <a:ext cx="10331271" cy="3858396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50000"/>
              </a:lnSpc>
              <a:buNone/>
              <a:defRPr sz="1700">
                <a:solidFill>
                  <a:schemeClr val="bg1"/>
                </a:solidFill>
              </a:defRPr>
            </a:lvl1pPr>
            <a:lvl2pPr marL="180000" indent="-180000">
              <a:lnSpc>
                <a:spcPct val="150000"/>
              </a:lnSpc>
              <a:buClr>
                <a:schemeClr val="bg1"/>
              </a:buClr>
              <a:buFont typeface="Wingdings" pitchFamily="2" charset="2"/>
              <a:buChar char="§"/>
              <a:defRPr sz="1700">
                <a:solidFill>
                  <a:schemeClr val="bg1"/>
                </a:solidFill>
              </a:defRPr>
            </a:lvl2pPr>
            <a:lvl3pPr marL="360000" indent="-180000">
              <a:lnSpc>
                <a:spcPct val="150000"/>
              </a:lnSpc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3pPr>
            <a:lvl4pPr marL="540000" indent="-180000">
              <a:lnSpc>
                <a:spcPct val="150000"/>
              </a:lnSpc>
              <a:buFont typeface="Wingdings" pitchFamily="2" charset="2"/>
              <a:buChar char="§"/>
              <a:defRPr sz="1700">
                <a:solidFill>
                  <a:schemeClr val="bg1"/>
                </a:solidFill>
              </a:defRPr>
            </a:lvl4pPr>
            <a:lvl5pPr marL="363600" indent="-363600">
              <a:lnSpc>
                <a:spcPct val="150000"/>
              </a:lnSpc>
              <a:buFont typeface="+mj-lt"/>
              <a:buAutoNum type="arabicPeriod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524DB25-5079-3B47-B924-B2E79D7F76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1" y="540000"/>
            <a:ext cx="10514397" cy="52422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AGE TITLE</a:t>
            </a:r>
            <a:endParaRPr lang="en-US" dirty="0"/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7F7995C-8617-0E4E-BF19-CD49032B3D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8801" y="1069274"/>
            <a:ext cx="10514397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1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13DE5FB-FD6A-0A48-ACE8-CD534C14C00A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028F6198-E829-8341-8ECD-7C413895765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5200" y="1864800"/>
            <a:ext cx="10521600" cy="365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6C89A000-07A3-F54D-AB57-199E152D948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4" y="6376778"/>
            <a:ext cx="1660525" cy="336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72867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MEDIA_RED_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Inhaltsplatzhalter 7">
            <a:extLst>
              <a:ext uri="{FF2B5EF4-FFF2-40B4-BE49-F238E27FC236}">
                <a16:creationId xmlns:a16="http://schemas.microsoft.com/office/drawing/2014/main" id="{2DBF302B-0A29-794A-824F-53F57770097A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936388" y="2229925"/>
            <a:ext cx="4923543" cy="3852821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50000"/>
              </a:lnSpc>
              <a:buNone/>
              <a:defRPr sz="1700">
                <a:solidFill>
                  <a:schemeClr val="bg1"/>
                </a:solidFill>
              </a:defRPr>
            </a:lvl1pPr>
            <a:lvl2pPr marL="180000" indent="-180000">
              <a:lnSpc>
                <a:spcPct val="150000"/>
              </a:lnSpc>
              <a:buClr>
                <a:schemeClr val="bg1"/>
              </a:buClr>
              <a:buFont typeface="Wingdings" pitchFamily="2" charset="2"/>
              <a:buChar char="§"/>
              <a:defRPr sz="1700">
                <a:solidFill>
                  <a:schemeClr val="bg1"/>
                </a:solidFill>
              </a:defRPr>
            </a:lvl2pPr>
            <a:lvl3pPr marL="360000" indent="-180000">
              <a:lnSpc>
                <a:spcPct val="150000"/>
              </a:lnSpc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3pPr>
            <a:lvl4pPr marL="540000" indent="-180000">
              <a:lnSpc>
                <a:spcPct val="150000"/>
              </a:lnSpc>
              <a:buFont typeface="Wingdings" pitchFamily="2" charset="2"/>
              <a:buChar char="§"/>
              <a:defRPr sz="1700">
                <a:solidFill>
                  <a:schemeClr val="bg1"/>
                </a:solidFill>
              </a:defRPr>
            </a:lvl4pPr>
            <a:lvl5pPr marL="363600" indent="-363600">
              <a:lnSpc>
                <a:spcPct val="150000"/>
              </a:lnSpc>
              <a:buFont typeface="+mj-lt"/>
              <a:buAutoNum type="arabicPeriod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CDA7F40-DB35-7A4C-8B4D-CFFCC8EFD0C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CF800B80-BBD1-284D-A48B-71803E0EA54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5201" y="1864800"/>
            <a:ext cx="5099788" cy="365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6E886D0C-A8B4-3244-AE8F-86BB8F8ADA2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53201" y="1864800"/>
            <a:ext cx="5099788" cy="365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20" name="Inhaltsplatzhalter 7">
            <a:extLst>
              <a:ext uri="{FF2B5EF4-FFF2-40B4-BE49-F238E27FC236}">
                <a16:creationId xmlns:a16="http://schemas.microsoft.com/office/drawing/2014/main" id="{ECA95D00-86A1-B640-91C7-D98A550A1564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6342450" y="2229925"/>
            <a:ext cx="4923544" cy="3852821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50000"/>
              </a:lnSpc>
              <a:buNone/>
              <a:defRPr sz="1700">
                <a:solidFill>
                  <a:schemeClr val="bg1"/>
                </a:solidFill>
              </a:defRPr>
            </a:lvl1pPr>
            <a:lvl2pPr marL="180000" indent="-180000">
              <a:lnSpc>
                <a:spcPct val="150000"/>
              </a:lnSpc>
              <a:buClr>
                <a:schemeClr val="bg1"/>
              </a:buClr>
              <a:buFont typeface="Wingdings" pitchFamily="2" charset="2"/>
              <a:buChar char="§"/>
              <a:defRPr sz="1700">
                <a:solidFill>
                  <a:schemeClr val="bg1"/>
                </a:solidFill>
              </a:defRPr>
            </a:lvl2pPr>
            <a:lvl3pPr marL="360000" indent="-180000">
              <a:lnSpc>
                <a:spcPct val="150000"/>
              </a:lnSpc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3pPr>
            <a:lvl4pPr marL="540000" indent="-180000">
              <a:lnSpc>
                <a:spcPct val="150000"/>
              </a:lnSpc>
              <a:buFont typeface="Wingdings" pitchFamily="2" charset="2"/>
              <a:buChar char="§"/>
              <a:defRPr sz="1700">
                <a:solidFill>
                  <a:schemeClr val="bg1"/>
                </a:solidFill>
              </a:defRPr>
            </a:lvl4pPr>
            <a:lvl5pPr marL="363600" indent="-363600">
              <a:lnSpc>
                <a:spcPct val="150000"/>
              </a:lnSpc>
              <a:buFont typeface="+mj-lt"/>
              <a:buAutoNum type="arabicPeriod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  <a:p>
            <a:pPr lvl="4"/>
            <a:endParaRPr lang="en-US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F4E3D51B-2315-FD4E-9592-7AA092B18ED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4" y="6376778"/>
            <a:ext cx="1660525" cy="336917"/>
          </a:xfrm>
          <a:prstGeom prst="rect">
            <a:avLst/>
          </a:prstGeom>
        </p:spPr>
      </p:pic>
      <p:sp>
        <p:nvSpPr>
          <p:cNvPr id="10" name="Titel 1">
            <a:extLst>
              <a:ext uri="{FF2B5EF4-FFF2-40B4-BE49-F238E27FC236}">
                <a16:creationId xmlns:a16="http://schemas.microsoft.com/office/drawing/2014/main" id="{060E5347-8B65-BE46-B585-6991DBBC4E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1" y="540000"/>
            <a:ext cx="10514397" cy="52422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AGE TITLE</a:t>
            </a:r>
            <a:endParaRPr lang="en-US" dirty="0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38BF0AEC-5A60-8343-87FE-85630C1F421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8801" y="1069274"/>
            <a:ext cx="10514397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1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</p:spTree>
    <p:extLst>
      <p:ext uri="{BB962C8B-B14F-4D97-AF65-F5344CB8AC3E}">
        <p14:creationId xmlns:p14="http://schemas.microsoft.com/office/powerpoint/2010/main" val="327294869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_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823FFA64-D9C6-E14D-9522-3C564B519C8B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0" y="-1"/>
            <a:ext cx="12192001" cy="5172159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9C00E63-BC0D-624D-A8A2-0FA77E8529FA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FEFF62FD-3002-FA40-81E9-3A66E470231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8797" y="5445760"/>
            <a:ext cx="10514401" cy="63111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700">
                <a:solidFill>
                  <a:schemeClr val="tx2"/>
                </a:solidFill>
              </a:defRPr>
            </a:lvl1pPr>
            <a:lvl2pPr marL="17463" indent="0">
              <a:buNone/>
              <a:tabLst/>
              <a:defRPr sz="1700">
                <a:solidFill>
                  <a:schemeClr val="bg2"/>
                </a:solidFill>
                <a:latin typeface="+mn-lt"/>
              </a:defRPr>
            </a:lvl2pPr>
            <a:lvl3pPr marL="180000" indent="-180000">
              <a:buClr>
                <a:schemeClr val="tx2"/>
              </a:buClr>
              <a:buFont typeface="Wingdings" pitchFamily="2" charset="2"/>
              <a:buChar char="§"/>
              <a:tabLst/>
              <a:defRPr sz="1700">
                <a:solidFill>
                  <a:schemeClr val="bg2"/>
                </a:solidFill>
                <a:latin typeface="+mn-lt"/>
              </a:defRPr>
            </a:lvl3pPr>
            <a:lvl4pPr marL="360000" indent="-180000">
              <a:buClr>
                <a:schemeClr val="tx2"/>
              </a:buClr>
              <a:buFont typeface="Wingdings" pitchFamily="2" charset="2"/>
              <a:buChar char="§"/>
              <a:tabLst/>
              <a:defRPr sz="1700">
                <a:solidFill>
                  <a:schemeClr val="bg2"/>
                </a:solidFill>
                <a:latin typeface="+mn-lt"/>
              </a:defRPr>
            </a:lvl4pPr>
            <a:lvl5pPr marL="540000" indent="-180000">
              <a:buClr>
                <a:schemeClr val="tx2"/>
              </a:buClr>
              <a:buFont typeface="Wingdings" pitchFamily="2" charset="2"/>
              <a:buChar char="§"/>
              <a:tabLst/>
              <a:defRPr sz="1700">
                <a:solidFill>
                  <a:schemeClr val="bg2"/>
                </a:solidFill>
                <a:latin typeface="+mn-lt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3FA7D1EB-0448-1E4E-90B5-159532E14C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609026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_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823FFA64-D9C6-E14D-9522-3C564B519C8B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0" y="1940416"/>
            <a:ext cx="12192001" cy="491758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Textplatzhalter 11">
            <a:extLst>
              <a:ext uri="{FF2B5EF4-FFF2-40B4-BE49-F238E27FC236}">
                <a16:creationId xmlns:a16="http://schemas.microsoft.com/office/drawing/2014/main" id="{53349F95-6B1D-014A-9A44-8536DBC70DD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8802" y="1069274"/>
            <a:ext cx="10514398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675BA-E439-0F4B-B5DE-D9D2988B14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1" y="540000"/>
            <a:ext cx="10514397" cy="52422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cap="all" baseline="0"/>
            </a:lvl1pPr>
          </a:lstStyle>
          <a:p>
            <a:r>
              <a:rPr lang="de-DE" dirty="0"/>
              <a:t>PAGE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093313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8A57D2FD-3BE8-CF48-8D2F-8F527902FA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8799" y="1865352"/>
            <a:ext cx="10512085" cy="4211527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50000"/>
              </a:lnSpc>
              <a:buClr>
                <a:schemeClr val="tx2"/>
              </a:buClr>
              <a:buFont typeface="Wingdings" pitchFamily="2" charset="2"/>
              <a:buNone/>
              <a:defRPr sz="3600" b="0" i="1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 marL="9525" indent="0">
              <a:lnSpc>
                <a:spcPct val="150000"/>
              </a:lnSpc>
              <a:buClr>
                <a:schemeClr val="tx2"/>
              </a:buClr>
              <a:buFont typeface="Wingdings" pitchFamily="2" charset="2"/>
              <a:buNone/>
              <a:tabLst/>
              <a:defRPr sz="1700" b="1" i="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0" indent="0">
              <a:lnSpc>
                <a:spcPct val="150000"/>
              </a:lnSpc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80000" indent="-180000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360000" indent="-180000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9C00E63-BC0D-624D-A8A2-0FA77E8529FA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2B8DED7-7B70-D143-AFB3-4231FACFE4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250BB4E6-1C09-2E41-AD10-43638DBD885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8802" y="1069274"/>
            <a:ext cx="10514398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  <p:sp>
        <p:nvSpPr>
          <p:cNvPr id="14" name="Titel 2">
            <a:extLst>
              <a:ext uri="{FF2B5EF4-FFF2-40B4-BE49-F238E27FC236}">
                <a16:creationId xmlns:a16="http://schemas.microsoft.com/office/drawing/2014/main" id="{29D636A9-1D54-B641-B8F0-30BB98DBA4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1" y="540000"/>
            <a:ext cx="10514397" cy="52422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cap="all" baseline="0"/>
            </a:lvl1pPr>
          </a:lstStyle>
          <a:p>
            <a:r>
              <a:rPr lang="de-DE" dirty="0"/>
              <a:t>PAGE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22557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RE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8A57D2FD-3BE8-CF48-8D2F-8F527902FA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8799" y="1865352"/>
            <a:ext cx="10512085" cy="4217394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50000"/>
              </a:lnSpc>
              <a:buClr>
                <a:schemeClr val="tx2"/>
              </a:buClr>
              <a:buFont typeface="Wingdings" pitchFamily="2" charset="2"/>
              <a:buNone/>
              <a:defRPr sz="3600" b="0" i="1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 marL="9525" indent="0">
              <a:lnSpc>
                <a:spcPct val="150000"/>
              </a:lnSpc>
              <a:buClr>
                <a:schemeClr val="tx2"/>
              </a:buClr>
              <a:buFont typeface="Wingdings" pitchFamily="2" charset="2"/>
              <a:buNone/>
              <a:tabLst/>
              <a:defRPr sz="1700" b="1" i="0">
                <a:solidFill>
                  <a:schemeClr val="bg1"/>
                </a:solidFill>
                <a:latin typeface="Verdana" panose="020B0604030504040204" pitchFamily="34" charset="0"/>
              </a:defRPr>
            </a:lvl2pPr>
            <a:lvl3pPr marL="0" indent="0">
              <a:lnSpc>
                <a:spcPct val="150000"/>
              </a:lnSpc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1"/>
                </a:solidFill>
                <a:latin typeface="Verdana" panose="020B0604030504040204" pitchFamily="34" charset="0"/>
              </a:defRPr>
            </a:lvl3pPr>
            <a:lvl4pPr marL="180000" indent="-180000">
              <a:lnSpc>
                <a:spcPct val="150000"/>
              </a:lnSpc>
              <a:buClr>
                <a:schemeClr val="bg1"/>
              </a:buClr>
              <a:buFont typeface="Wingdings" pitchFamily="2" charset="2"/>
              <a:buChar char="§"/>
              <a:defRPr sz="1700" b="0" i="0">
                <a:solidFill>
                  <a:schemeClr val="bg1"/>
                </a:solidFill>
                <a:latin typeface="Verdana" panose="020B0604030504040204" pitchFamily="34" charset="0"/>
              </a:defRPr>
            </a:lvl4pPr>
            <a:lvl5pPr marL="360000" indent="-180000">
              <a:lnSpc>
                <a:spcPct val="150000"/>
              </a:lnSpc>
              <a:buClr>
                <a:schemeClr val="bg1"/>
              </a:buClr>
              <a:buFont typeface="Wingdings" pitchFamily="2" charset="2"/>
              <a:buChar char="§"/>
              <a:defRPr sz="1700" b="0" i="0">
                <a:solidFill>
                  <a:schemeClr val="bg1"/>
                </a:solidFill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9C00E63-BC0D-624D-A8A2-0FA77E8529FA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AD411298-8A79-0843-96CD-6672D88906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4" y="6376778"/>
            <a:ext cx="1660525" cy="336917"/>
          </a:xfrm>
          <a:prstGeom prst="rect">
            <a:avLst/>
          </a:prstGeom>
        </p:spPr>
      </p:pic>
      <p:sp>
        <p:nvSpPr>
          <p:cNvPr id="7" name="Titel 1">
            <a:extLst>
              <a:ext uri="{FF2B5EF4-FFF2-40B4-BE49-F238E27FC236}">
                <a16:creationId xmlns:a16="http://schemas.microsoft.com/office/drawing/2014/main" id="{BE1FE75C-94FA-9F46-9D25-775DBFB4AF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1" y="540000"/>
            <a:ext cx="10514397" cy="52422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AGE TITLE</a:t>
            </a:r>
            <a:endParaRPr lang="en-US" dirty="0"/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8D1194FD-57B4-9E49-9E26-130A151D2E2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8801" y="1069274"/>
            <a:ext cx="10514397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1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</p:spTree>
    <p:extLst>
      <p:ext uri="{BB962C8B-B14F-4D97-AF65-F5344CB8AC3E}">
        <p14:creationId xmlns:p14="http://schemas.microsoft.com/office/powerpoint/2010/main" val="91752392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IMAG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823FFA64-D9C6-E14D-9522-3C564B519C8B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7599679" y="0"/>
            <a:ext cx="4592321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8A57D2FD-3BE8-CF48-8D2F-8F527902FA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8800" y="1069274"/>
            <a:ext cx="6364640" cy="5007605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50000"/>
              </a:lnSpc>
              <a:buClr>
                <a:schemeClr val="tx2"/>
              </a:buClr>
              <a:buFont typeface="Wingdings" pitchFamily="2" charset="2"/>
              <a:buNone/>
              <a:defRPr sz="2400" b="0" i="1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 marL="9525" indent="0">
              <a:lnSpc>
                <a:spcPct val="150000"/>
              </a:lnSpc>
              <a:buClr>
                <a:schemeClr val="tx2"/>
              </a:buClr>
              <a:buFont typeface="Wingdings" pitchFamily="2" charset="2"/>
              <a:buNone/>
              <a:tabLst/>
              <a:defRPr sz="1700" b="1" i="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0" indent="0">
              <a:lnSpc>
                <a:spcPct val="150000"/>
              </a:lnSpc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80000" indent="-180000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360000" indent="-180000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305E0BBB-1FDD-D14B-BCB2-07BEBA1FACF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829446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IMAGE_RE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823FFA64-D9C6-E14D-9522-3C564B519C8B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7599679" y="0"/>
            <a:ext cx="4592321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8A57D2FD-3BE8-CF48-8D2F-8F527902FA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8800" y="1069274"/>
            <a:ext cx="6364640" cy="5013472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50000"/>
              </a:lnSpc>
              <a:buClr>
                <a:schemeClr val="tx2"/>
              </a:buClr>
              <a:buFont typeface="Wingdings" pitchFamily="2" charset="2"/>
              <a:buNone/>
              <a:defRPr sz="2400" b="0" i="1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 marL="9525" indent="0">
              <a:lnSpc>
                <a:spcPct val="150000"/>
              </a:lnSpc>
              <a:buClr>
                <a:schemeClr val="tx2"/>
              </a:buClr>
              <a:buFont typeface="Wingdings" pitchFamily="2" charset="2"/>
              <a:buNone/>
              <a:tabLst/>
              <a:defRPr sz="1700" b="1" i="0">
                <a:solidFill>
                  <a:schemeClr val="bg1"/>
                </a:solidFill>
                <a:latin typeface="Verdana" panose="020B0604030504040204" pitchFamily="34" charset="0"/>
              </a:defRPr>
            </a:lvl2pPr>
            <a:lvl3pPr marL="0" indent="0">
              <a:lnSpc>
                <a:spcPct val="150000"/>
              </a:lnSpc>
              <a:buClr>
                <a:schemeClr val="bg1"/>
              </a:buClr>
              <a:buFont typeface="Wingdings" pitchFamily="2" charset="2"/>
              <a:buNone/>
              <a:defRPr sz="1700" b="0" i="0">
                <a:solidFill>
                  <a:schemeClr val="bg1"/>
                </a:solidFill>
                <a:latin typeface="Verdana" panose="020B0604030504040204" pitchFamily="34" charset="0"/>
              </a:defRPr>
            </a:lvl3pPr>
            <a:lvl4pPr marL="180000" indent="-180000">
              <a:lnSpc>
                <a:spcPct val="150000"/>
              </a:lnSpc>
              <a:buClr>
                <a:schemeClr val="bg1"/>
              </a:buClr>
              <a:buFont typeface="Wingdings" pitchFamily="2" charset="2"/>
              <a:buChar char="§"/>
              <a:defRPr sz="1700" b="0" i="0">
                <a:solidFill>
                  <a:schemeClr val="bg1"/>
                </a:solidFill>
                <a:latin typeface="Verdana" panose="020B0604030504040204" pitchFamily="34" charset="0"/>
              </a:defRPr>
            </a:lvl4pPr>
            <a:lvl5pPr marL="360000" indent="-180000">
              <a:lnSpc>
                <a:spcPct val="150000"/>
              </a:lnSpc>
              <a:buClr>
                <a:schemeClr val="bg1"/>
              </a:buClr>
              <a:buFont typeface="Wingdings" pitchFamily="2" charset="2"/>
              <a:buChar char="§"/>
              <a:defRPr sz="1700" b="0" i="0">
                <a:solidFill>
                  <a:schemeClr val="bg1"/>
                </a:solidFill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3D51BBEE-880E-9F44-A065-70D5EE8976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4" y="6376778"/>
            <a:ext cx="1660525" cy="336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800295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524DB25-5079-3B47-B924-B2E79D7F76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1" y="540000"/>
            <a:ext cx="10514397" cy="524223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NOME COGNOME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7CCD9C3-D45A-0044-8C6C-1EBD62E1E821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8B200C9B-6A78-7C46-9FF4-7A002DEDF8A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1000" y="1866686"/>
            <a:ext cx="8424820" cy="525600"/>
          </a:xfrm>
          <a:prstGeom prst="rect">
            <a:avLst/>
          </a:prstGeom>
        </p:spPr>
        <p:txBody>
          <a:bodyPr numCol="1"/>
          <a:lstStyle>
            <a:lvl1pPr marL="11113" indent="-11113">
              <a:buClr>
                <a:schemeClr val="tx2"/>
              </a:buClr>
              <a:buFont typeface="Wingdings" pitchFamily="2" charset="2"/>
              <a:buNone/>
              <a:tabLst/>
              <a:defRPr sz="1700" b="0" i="0" cap="none" baseline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/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/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/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/>
            </a:lvl5pPr>
          </a:lstStyle>
          <a:p>
            <a:pPr lvl="0"/>
            <a:r>
              <a:rPr lang="en-US" b="1" dirty="0"/>
              <a:t>Function | Position | Two Lines Possible</a:t>
            </a:r>
            <a:endParaRPr lang="en-US" dirty="0"/>
          </a:p>
        </p:txBody>
      </p:sp>
      <p:sp>
        <p:nvSpPr>
          <p:cNvPr id="22" name="Bildplatzhalter 6">
            <a:extLst>
              <a:ext uri="{FF2B5EF4-FFF2-40B4-BE49-F238E27FC236}">
                <a16:creationId xmlns:a16="http://schemas.microsoft.com/office/drawing/2014/main" id="{6126594E-3076-9D49-9242-C21B776B3829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957287" y="1942105"/>
            <a:ext cx="1826345" cy="228706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00" b="1" i="0">
                <a:solidFill>
                  <a:schemeClr val="tx2"/>
                </a:solidFill>
                <a:latin typeface="Verdana" panose="020B0604030504040204" pitchFamily="34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1426EE19-D383-CE44-9C10-B6270CA54C8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  <p:sp>
        <p:nvSpPr>
          <p:cNvPr id="26" name="Textplatzhalter 39">
            <a:extLst>
              <a:ext uri="{FF2B5EF4-FFF2-40B4-BE49-F238E27FC236}">
                <a16:creationId xmlns:a16="http://schemas.microsoft.com/office/drawing/2014/main" id="{897AF230-28B9-C44C-942F-128FB2706D5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923520" y="2935617"/>
            <a:ext cx="4378411" cy="3147128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buFont typeface="Wingdings" pitchFamily="2" charset="2"/>
              <a:buChar char="§"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List max. 5 areas of experience</a:t>
            </a:r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5995E196-B0AC-E941-8C2C-D03D6C495539}"/>
              </a:ext>
            </a:extLst>
          </p:cNvPr>
          <p:cNvSpPr txBox="1"/>
          <p:nvPr userDrawn="1"/>
        </p:nvSpPr>
        <p:spPr>
          <a:xfrm>
            <a:off x="2921000" y="2601716"/>
            <a:ext cx="3907091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Bef>
                <a:spcPts val="1000"/>
              </a:spcBef>
            </a:pPr>
            <a:r>
              <a:rPr lang="en-US" sz="1700" b="1" i="0" dirty="0">
                <a:solidFill>
                  <a:schemeClr val="tx2"/>
                </a:solidFill>
                <a:latin typeface="Verdana" panose="020B0604030504040204" pitchFamily="34" charset="0"/>
              </a:rPr>
              <a:t>FOCUS</a:t>
            </a:r>
          </a:p>
        </p:txBody>
      </p:sp>
      <p:sp>
        <p:nvSpPr>
          <p:cNvPr id="28" name="Textplatzhalter 26">
            <a:extLst>
              <a:ext uri="{FF2B5EF4-FFF2-40B4-BE49-F238E27FC236}">
                <a16:creationId xmlns:a16="http://schemas.microsoft.com/office/drawing/2014/main" id="{556D3AB2-161C-604C-AFE1-5C25A64A39F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47269" y="4305463"/>
            <a:ext cx="1935972" cy="71167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>
              <a:lnSpc>
                <a:spcPct val="12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11113" indent="0">
              <a:lnSpc>
                <a:spcPct val="100000"/>
              </a:lnSpc>
              <a:buNone/>
              <a:tabLst/>
              <a:defRPr sz="11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ompany</a:t>
            </a:r>
          </a:p>
          <a:p>
            <a:pPr lvl="0"/>
            <a:r>
              <a:rPr lang="en-US" dirty="0"/>
              <a:t>Street</a:t>
            </a:r>
          </a:p>
          <a:p>
            <a:pPr lvl="0"/>
            <a:r>
              <a:rPr lang="en-US" dirty="0"/>
              <a:t>ZIP City | Country</a:t>
            </a:r>
          </a:p>
        </p:txBody>
      </p:sp>
      <p:sp>
        <p:nvSpPr>
          <p:cNvPr id="29" name="Textplatzhalter 31">
            <a:extLst>
              <a:ext uri="{FF2B5EF4-FFF2-40B4-BE49-F238E27FC236}">
                <a16:creationId xmlns:a16="http://schemas.microsoft.com/office/drawing/2014/main" id="{47264D40-A467-CE4D-8DFB-51AD8C2DE6B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46107" y="4995144"/>
            <a:ext cx="1737133" cy="270474"/>
          </a:xfrm>
          <a:prstGeom prst="rect">
            <a:avLst/>
          </a:prstGeom>
        </p:spPr>
        <p:txBody>
          <a:bodyPr anchor="t" anchorCtr="0"/>
          <a:lstStyle>
            <a:lvl1pPr marL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+XXXXXXXXXX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9A133A94-2468-3A4D-9C00-D98CB73A574E}"/>
              </a:ext>
            </a:extLst>
          </p:cNvPr>
          <p:cNvSpPr txBox="1"/>
          <p:nvPr userDrawn="1"/>
        </p:nvSpPr>
        <p:spPr>
          <a:xfrm>
            <a:off x="860906" y="4981302"/>
            <a:ext cx="31825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 b="1" i="0" dirty="0">
                <a:solidFill>
                  <a:schemeClr val="tx2"/>
                </a:solidFill>
                <a:latin typeface="Verdana" panose="020B0604030504040204" pitchFamily="34" charset="0"/>
              </a:rPr>
              <a:t>T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D28D4273-D49D-F841-9866-5E8AF8E8C57B}"/>
              </a:ext>
            </a:extLst>
          </p:cNvPr>
          <p:cNvSpPr txBox="1"/>
          <p:nvPr userDrawn="1"/>
        </p:nvSpPr>
        <p:spPr>
          <a:xfrm>
            <a:off x="860907" y="5161309"/>
            <a:ext cx="31825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 b="1" i="0" dirty="0">
                <a:solidFill>
                  <a:schemeClr val="tx2"/>
                </a:solidFill>
                <a:latin typeface="Verdana" panose="020B0604030504040204" pitchFamily="34" charset="0"/>
              </a:rPr>
              <a:t>E</a:t>
            </a:r>
          </a:p>
        </p:txBody>
      </p:sp>
      <p:sp>
        <p:nvSpPr>
          <p:cNvPr id="35" name="Textplatzhalter 31">
            <a:extLst>
              <a:ext uri="{FF2B5EF4-FFF2-40B4-BE49-F238E27FC236}">
                <a16:creationId xmlns:a16="http://schemas.microsoft.com/office/drawing/2014/main" id="{9CBFD42E-36BE-4F4D-B5DB-CAC8845F4EC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45948" y="5174750"/>
            <a:ext cx="1737133" cy="270474"/>
          </a:xfrm>
          <a:prstGeom prst="rect">
            <a:avLst/>
          </a:prstGeom>
        </p:spPr>
        <p:txBody>
          <a:bodyPr anchor="t" anchorCtr="0"/>
          <a:lstStyle>
            <a:lvl1pPr marL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 err="1"/>
              <a:t>email@email.com</a:t>
            </a:r>
            <a:endParaRPr lang="en-US" dirty="0"/>
          </a:p>
        </p:txBody>
      </p:sp>
      <p:cxnSp>
        <p:nvCxnSpPr>
          <p:cNvPr id="42" name="Gerade Verbindung 41">
            <a:extLst>
              <a:ext uri="{FF2B5EF4-FFF2-40B4-BE49-F238E27FC236}">
                <a16:creationId xmlns:a16="http://schemas.microsoft.com/office/drawing/2014/main" id="{C88673F6-BFFB-534D-A0A9-CE11A1107D80}"/>
              </a:ext>
            </a:extLst>
          </p:cNvPr>
          <p:cNvCxnSpPr>
            <a:cxnSpLocks/>
          </p:cNvCxnSpPr>
          <p:nvPr userDrawn="1"/>
        </p:nvCxnSpPr>
        <p:spPr>
          <a:xfrm>
            <a:off x="3027145" y="2492896"/>
            <a:ext cx="8326053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platzhalter 39">
            <a:extLst>
              <a:ext uri="{FF2B5EF4-FFF2-40B4-BE49-F238E27FC236}">
                <a16:creationId xmlns:a16="http://schemas.microsoft.com/office/drawing/2014/main" id="{E1D85231-FC0D-924B-BD3D-3987D9F319A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42211" y="2936688"/>
            <a:ext cx="3910987" cy="3146057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GB" noProof="0" dirty="0"/>
              <a:t>List Career Steps/Key Achievements</a:t>
            </a:r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FC6FD956-97F2-ED46-B056-157339A2B773}"/>
              </a:ext>
            </a:extLst>
          </p:cNvPr>
          <p:cNvSpPr txBox="1"/>
          <p:nvPr userDrawn="1"/>
        </p:nvSpPr>
        <p:spPr>
          <a:xfrm>
            <a:off x="7439691" y="2602788"/>
            <a:ext cx="3907091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Bef>
                <a:spcPts val="1000"/>
              </a:spcBef>
            </a:pPr>
            <a:r>
              <a:rPr lang="en-US" sz="1700" b="1" i="0" dirty="0">
                <a:solidFill>
                  <a:schemeClr val="tx2"/>
                </a:solidFill>
                <a:latin typeface="Verdana" panose="020B0604030504040204" pitchFamily="34" charset="0"/>
              </a:rPr>
              <a:t>ALTRE INFORMAZIONI</a:t>
            </a:r>
          </a:p>
        </p:txBody>
      </p:sp>
    </p:spTree>
    <p:extLst>
      <p:ext uri="{BB962C8B-B14F-4D97-AF65-F5344CB8AC3E}">
        <p14:creationId xmlns:p14="http://schemas.microsoft.com/office/powerpoint/2010/main" val="2818937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58548275-0EE1-FE43-AA39-80EFF947711D}"/>
              </a:ext>
            </a:extLst>
          </p:cNvPr>
          <p:cNvGrpSpPr/>
          <p:nvPr userDrawn="1"/>
        </p:nvGrpSpPr>
        <p:grpSpPr>
          <a:xfrm>
            <a:off x="7056150" y="0"/>
            <a:ext cx="5135850" cy="6858000"/>
            <a:chOff x="7056150" y="0"/>
            <a:chExt cx="5135850" cy="6858000"/>
          </a:xfrm>
          <a:solidFill>
            <a:schemeClr val="bg2"/>
          </a:solidFill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7BDCD05C-BF4F-2848-AFF3-C997B596BB87}"/>
                </a:ext>
              </a:extLst>
            </p:cNvPr>
            <p:cNvSpPr/>
            <p:nvPr userDrawn="1"/>
          </p:nvSpPr>
          <p:spPr>
            <a:xfrm>
              <a:off x="9987280" y="0"/>
              <a:ext cx="220472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Rechtwinkliges Dreieck 11">
              <a:extLst>
                <a:ext uri="{FF2B5EF4-FFF2-40B4-BE49-F238E27FC236}">
                  <a16:creationId xmlns:a16="http://schemas.microsoft.com/office/drawing/2014/main" id="{0EDEE093-B459-514B-96DF-4192AD4E2FBB}"/>
                </a:ext>
              </a:extLst>
            </p:cNvPr>
            <p:cNvSpPr/>
            <p:nvPr userDrawn="1"/>
          </p:nvSpPr>
          <p:spPr>
            <a:xfrm flipH="1">
              <a:off x="7056150" y="0"/>
              <a:ext cx="2931126" cy="6858000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1" name="Grafik 10">
            <a:extLst>
              <a:ext uri="{FF2B5EF4-FFF2-40B4-BE49-F238E27FC236}">
                <a16:creationId xmlns:a16="http://schemas.microsoft.com/office/drawing/2014/main" id="{EEFD517D-267B-2C44-AADC-B5DB4581050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  <p:sp>
        <p:nvSpPr>
          <p:cNvPr id="8" name="Titelplatzhalter 1">
            <a:extLst>
              <a:ext uri="{FF2B5EF4-FFF2-40B4-BE49-F238E27FC236}">
                <a16:creationId xmlns:a16="http://schemas.microsoft.com/office/drawing/2014/main" id="{F1ECFEE8-66AB-7A47-9CC7-353781B2D2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044868"/>
            <a:ext cx="6289849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>
              <a:defRPr sz="3400" b="1" i="0" cap="all" baseline="0">
                <a:solidFill>
                  <a:schemeClr val="tx2"/>
                </a:solidFill>
                <a:latin typeface="Verdana" panose="020B0604030504040204" pitchFamily="34" charset="0"/>
              </a:defRPr>
            </a:lvl1pPr>
          </a:lstStyle>
          <a:p>
            <a:r>
              <a:rPr lang="de-DE" dirty="0"/>
              <a:t>CHAPTER TITLE</a:t>
            </a:r>
            <a:endParaRPr lang="en-US" dirty="0"/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FAA92DEE-970A-9942-B983-540A4FDCE7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3417102"/>
            <a:ext cx="6289849" cy="10563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SUBTITLE LOREM IPSUM</a:t>
            </a:r>
          </a:p>
        </p:txBody>
      </p:sp>
    </p:spTree>
    <p:extLst>
      <p:ext uri="{BB962C8B-B14F-4D97-AF65-F5344CB8AC3E}">
        <p14:creationId xmlns:p14="http://schemas.microsoft.com/office/powerpoint/2010/main" val="48627461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A05B03A6-145B-7D49-AB63-A2522894A0E0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34" name="Textplatzhalter 9">
            <a:extLst>
              <a:ext uri="{FF2B5EF4-FFF2-40B4-BE49-F238E27FC236}">
                <a16:creationId xmlns:a16="http://schemas.microsoft.com/office/drawing/2014/main" id="{1B976645-BCE3-0949-8565-222D1AD1CEBE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338894" y="1873608"/>
            <a:ext cx="3709567" cy="524224"/>
          </a:xfrm>
          <a:prstGeom prst="rect">
            <a:avLst/>
          </a:prstGeom>
        </p:spPr>
        <p:txBody>
          <a:bodyPr numCol="1"/>
          <a:lstStyle>
            <a:lvl1pPr marL="11113" indent="-11113">
              <a:buClr>
                <a:schemeClr val="tx2"/>
              </a:buClr>
              <a:buFont typeface="Wingdings" pitchFamily="2" charset="2"/>
              <a:buNone/>
              <a:tabLst/>
              <a:defRPr sz="1200" b="0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/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/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/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/>
            </a:lvl5pPr>
          </a:lstStyle>
          <a:p>
            <a:pPr lvl="0"/>
            <a:r>
              <a:rPr lang="en-US" b="1" dirty="0"/>
              <a:t>Function | Position | Two Lines Possible</a:t>
            </a:r>
            <a:endParaRPr lang="en-US" dirty="0"/>
          </a:p>
        </p:txBody>
      </p:sp>
      <p:sp>
        <p:nvSpPr>
          <p:cNvPr id="39" name="Textplatzhalter 26">
            <a:extLst>
              <a:ext uri="{FF2B5EF4-FFF2-40B4-BE49-F238E27FC236}">
                <a16:creationId xmlns:a16="http://schemas.microsoft.com/office/drawing/2014/main" id="{844C98AE-D01C-A44E-8C09-AA89B9D1E7DF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346291" y="4807487"/>
            <a:ext cx="3702170" cy="704882"/>
          </a:xfrm>
          <a:prstGeom prst="rect">
            <a:avLst/>
          </a:prstGeom>
        </p:spPr>
        <p:txBody>
          <a:bodyPr/>
          <a:lstStyle>
            <a:lvl1pPr>
              <a:buNone/>
              <a:defRPr sz="11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11113" indent="0">
              <a:buNone/>
              <a:tabLst/>
              <a:defRPr sz="11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Address</a:t>
            </a:r>
          </a:p>
          <a:p>
            <a:pPr lvl="1"/>
            <a:r>
              <a:rPr lang="en-US" dirty="0"/>
              <a:t>Street</a:t>
            </a:r>
          </a:p>
          <a:p>
            <a:pPr lvl="1"/>
            <a:r>
              <a:rPr lang="en-US" dirty="0"/>
              <a:t>Postal Code City | Country</a:t>
            </a: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9DD4B838-7A47-694C-8FCC-A3994CB2B2D7}"/>
              </a:ext>
            </a:extLst>
          </p:cNvPr>
          <p:cNvSpPr txBox="1"/>
          <p:nvPr userDrawn="1"/>
        </p:nvSpPr>
        <p:spPr>
          <a:xfrm>
            <a:off x="2338975" y="5527439"/>
            <a:ext cx="2106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i="0" dirty="0">
                <a:solidFill>
                  <a:schemeClr val="tx2"/>
                </a:solidFill>
                <a:latin typeface="Verdana" panose="020B0604030504040204" pitchFamily="34" charset="0"/>
              </a:rPr>
              <a:t>T</a:t>
            </a:r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888E6BAE-EEBD-F046-9AC3-18AB30D34F57}"/>
              </a:ext>
            </a:extLst>
          </p:cNvPr>
          <p:cNvSpPr txBox="1"/>
          <p:nvPr userDrawn="1"/>
        </p:nvSpPr>
        <p:spPr>
          <a:xfrm>
            <a:off x="2338974" y="5739456"/>
            <a:ext cx="2106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i="0" dirty="0">
                <a:solidFill>
                  <a:schemeClr val="tx2"/>
                </a:solidFill>
                <a:latin typeface="Verdana" panose="020B0604030504040204" pitchFamily="34" charset="0"/>
              </a:rPr>
              <a:t>E</a:t>
            </a:r>
          </a:p>
        </p:txBody>
      </p:sp>
      <p:sp>
        <p:nvSpPr>
          <p:cNvPr id="64" name="Textplatzhalter 39">
            <a:extLst>
              <a:ext uri="{FF2B5EF4-FFF2-40B4-BE49-F238E27FC236}">
                <a16:creationId xmlns:a16="http://schemas.microsoft.com/office/drawing/2014/main" id="{C133A9D8-A9F2-3943-8C5C-5ECC318CE175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2346291" y="2708920"/>
            <a:ext cx="3702354" cy="1372227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buFont typeface="Wingdings" pitchFamily="2" charset="2"/>
              <a:buChar char="§"/>
              <a:defRPr sz="11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List max. 5 areas of experience</a:t>
            </a:r>
          </a:p>
        </p:txBody>
      </p:sp>
      <p:sp>
        <p:nvSpPr>
          <p:cNvPr id="65" name="Textfeld 64">
            <a:extLst>
              <a:ext uri="{FF2B5EF4-FFF2-40B4-BE49-F238E27FC236}">
                <a16:creationId xmlns:a16="http://schemas.microsoft.com/office/drawing/2014/main" id="{A9C1D91F-F2BB-FE4E-A94D-C9F955D3F2E3}"/>
              </a:ext>
            </a:extLst>
          </p:cNvPr>
          <p:cNvSpPr txBox="1"/>
          <p:nvPr userDrawn="1"/>
        </p:nvSpPr>
        <p:spPr>
          <a:xfrm>
            <a:off x="2346291" y="2436352"/>
            <a:ext cx="3700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i="0" dirty="0">
                <a:solidFill>
                  <a:schemeClr val="tx2"/>
                </a:solidFill>
                <a:latin typeface="Verdana" panose="020B0604030504040204" pitchFamily="34" charset="0"/>
              </a:rPr>
              <a:t>FOCUS</a:t>
            </a:r>
          </a:p>
        </p:txBody>
      </p:sp>
      <p:sp>
        <p:nvSpPr>
          <p:cNvPr id="66" name="Textfeld 65">
            <a:extLst>
              <a:ext uri="{FF2B5EF4-FFF2-40B4-BE49-F238E27FC236}">
                <a16:creationId xmlns:a16="http://schemas.microsoft.com/office/drawing/2014/main" id="{15825ACB-6E44-3A4D-BB68-5E70C9A4182D}"/>
              </a:ext>
            </a:extLst>
          </p:cNvPr>
          <p:cNvSpPr txBox="1"/>
          <p:nvPr userDrawn="1"/>
        </p:nvSpPr>
        <p:spPr>
          <a:xfrm>
            <a:off x="2339999" y="4130638"/>
            <a:ext cx="37070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i="0" dirty="0">
                <a:solidFill>
                  <a:schemeClr val="tx2"/>
                </a:solidFill>
                <a:latin typeface="Verdana" panose="020B0604030504040204" pitchFamily="34" charset="0"/>
              </a:rPr>
              <a:t>LINGUE</a:t>
            </a:r>
          </a:p>
        </p:txBody>
      </p:sp>
      <p:sp>
        <p:nvSpPr>
          <p:cNvPr id="67" name="Textplatzhalter 43">
            <a:extLst>
              <a:ext uri="{FF2B5EF4-FFF2-40B4-BE49-F238E27FC236}">
                <a16:creationId xmlns:a16="http://schemas.microsoft.com/office/drawing/2014/main" id="{50751FB3-F7F6-4146-A0D8-F34B3D8B270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2346291" y="4404739"/>
            <a:ext cx="3702203" cy="351170"/>
          </a:xfrm>
          <a:prstGeom prst="rect">
            <a:avLst/>
          </a:prstGeom>
        </p:spPr>
        <p:txBody>
          <a:bodyPr/>
          <a:lstStyle>
            <a:lvl1pPr>
              <a:buNone/>
              <a:defRPr sz="11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Insert Languages</a:t>
            </a:r>
          </a:p>
        </p:txBody>
      </p:sp>
      <p:sp>
        <p:nvSpPr>
          <p:cNvPr id="69" name="Textplatzhalter 7">
            <a:extLst>
              <a:ext uri="{FF2B5EF4-FFF2-40B4-BE49-F238E27FC236}">
                <a16:creationId xmlns:a16="http://schemas.microsoft.com/office/drawing/2014/main" id="{4F200241-8CE3-7A4F-B38C-D90D556FEC8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8800" y="540000"/>
            <a:ext cx="5204648" cy="524223"/>
          </a:xfrm>
          <a:prstGeom prst="rect">
            <a:avLst/>
          </a:prstGeom>
        </p:spPr>
        <p:txBody>
          <a:bodyPr/>
          <a:lstStyle>
            <a:lvl1pPr>
              <a:buNone/>
              <a:defRPr sz="2400" b="0" i="0" cap="all" baseline="0">
                <a:solidFill>
                  <a:schemeClr val="tx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b="1" dirty="0"/>
              <a:t>NOME COGNOME</a:t>
            </a:r>
            <a:endParaRPr lang="en-US" dirty="0"/>
          </a:p>
        </p:txBody>
      </p:sp>
      <p:sp>
        <p:nvSpPr>
          <p:cNvPr id="70" name="Bildplatzhalter 6">
            <a:extLst>
              <a:ext uri="{FF2B5EF4-FFF2-40B4-BE49-F238E27FC236}">
                <a16:creationId xmlns:a16="http://schemas.microsoft.com/office/drawing/2014/main" id="{861F261E-07F3-D141-96B3-61E1F4572CF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54339" y="1941456"/>
            <a:ext cx="1263752" cy="15158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00" b="1" i="0">
                <a:solidFill>
                  <a:schemeClr val="tx2"/>
                </a:solidFill>
                <a:latin typeface="Verdana" panose="020B0604030504040204" pitchFamily="34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121" name="Textplatzhalter 31">
            <a:extLst>
              <a:ext uri="{FF2B5EF4-FFF2-40B4-BE49-F238E27FC236}">
                <a16:creationId xmlns:a16="http://schemas.microsoft.com/office/drawing/2014/main" id="{7777CD19-76E1-AC45-9895-DF4F0980ADBE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2573803" y="5557208"/>
            <a:ext cx="3465892" cy="247230"/>
          </a:xfrm>
          <a:prstGeom prst="rect">
            <a:avLst/>
          </a:prstGeom>
        </p:spPr>
        <p:txBody>
          <a:bodyPr/>
          <a:lstStyle>
            <a:lvl1pPr>
              <a:buNone/>
              <a:defRPr sz="11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+XXXXXXXXXX</a:t>
            </a:r>
          </a:p>
        </p:txBody>
      </p:sp>
      <p:sp>
        <p:nvSpPr>
          <p:cNvPr id="122" name="Textplatzhalter 34">
            <a:extLst>
              <a:ext uri="{FF2B5EF4-FFF2-40B4-BE49-F238E27FC236}">
                <a16:creationId xmlns:a16="http://schemas.microsoft.com/office/drawing/2014/main" id="{3C2F278F-65CF-1C4A-9AA2-6699C4833095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2573997" y="5770586"/>
            <a:ext cx="3465698" cy="280817"/>
          </a:xfrm>
          <a:prstGeom prst="rect">
            <a:avLst/>
          </a:prstGeom>
        </p:spPr>
        <p:txBody>
          <a:bodyPr/>
          <a:lstStyle>
            <a:lvl1pPr>
              <a:buNone/>
              <a:defRPr sz="11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 err="1"/>
              <a:t>email@email.com</a:t>
            </a:r>
            <a:endParaRPr lang="en-US" dirty="0"/>
          </a:p>
        </p:txBody>
      </p:sp>
      <p:sp>
        <p:nvSpPr>
          <p:cNvPr id="155" name="Textplatzhalter 9">
            <a:extLst>
              <a:ext uri="{FF2B5EF4-FFF2-40B4-BE49-F238E27FC236}">
                <a16:creationId xmlns:a16="http://schemas.microsoft.com/office/drawing/2014/main" id="{336B44B2-7347-CB41-8ACE-54A5C2E0FDE3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7649125" y="1873608"/>
            <a:ext cx="3709567" cy="524224"/>
          </a:xfrm>
          <a:prstGeom prst="rect">
            <a:avLst/>
          </a:prstGeom>
        </p:spPr>
        <p:txBody>
          <a:bodyPr numCol="1"/>
          <a:lstStyle>
            <a:lvl1pPr marL="11113" indent="-11113">
              <a:buClr>
                <a:schemeClr val="tx2"/>
              </a:buClr>
              <a:buFont typeface="Wingdings" pitchFamily="2" charset="2"/>
              <a:buNone/>
              <a:tabLst/>
              <a:defRPr sz="1200" b="0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/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/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/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/>
            </a:lvl5pPr>
          </a:lstStyle>
          <a:p>
            <a:pPr lvl="0"/>
            <a:r>
              <a:rPr lang="en-US" b="1" dirty="0"/>
              <a:t>Function | Position | Two Lines Possible</a:t>
            </a:r>
            <a:endParaRPr lang="en-US" dirty="0"/>
          </a:p>
        </p:txBody>
      </p:sp>
      <p:sp>
        <p:nvSpPr>
          <p:cNvPr id="156" name="Textplatzhalter 26">
            <a:extLst>
              <a:ext uri="{FF2B5EF4-FFF2-40B4-BE49-F238E27FC236}">
                <a16:creationId xmlns:a16="http://schemas.microsoft.com/office/drawing/2014/main" id="{145C0B4E-9BD9-0C4A-930B-BC12BA69964A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7647756" y="4807487"/>
            <a:ext cx="3709534" cy="704882"/>
          </a:xfrm>
          <a:prstGeom prst="rect">
            <a:avLst/>
          </a:prstGeom>
        </p:spPr>
        <p:txBody>
          <a:bodyPr/>
          <a:lstStyle>
            <a:lvl1pPr>
              <a:buNone/>
              <a:defRPr sz="11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11113" indent="0">
              <a:buNone/>
              <a:tabLst/>
              <a:defRPr sz="11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Address</a:t>
            </a:r>
          </a:p>
          <a:p>
            <a:pPr lvl="1"/>
            <a:r>
              <a:rPr lang="en-US" dirty="0"/>
              <a:t>Street</a:t>
            </a:r>
          </a:p>
          <a:p>
            <a:pPr lvl="1"/>
            <a:r>
              <a:rPr lang="en-US" dirty="0"/>
              <a:t>Postal Code City | Country</a:t>
            </a:r>
          </a:p>
        </p:txBody>
      </p:sp>
      <p:sp>
        <p:nvSpPr>
          <p:cNvPr id="157" name="Textfeld 156">
            <a:extLst>
              <a:ext uri="{FF2B5EF4-FFF2-40B4-BE49-F238E27FC236}">
                <a16:creationId xmlns:a16="http://schemas.microsoft.com/office/drawing/2014/main" id="{478C4171-C6A7-DC47-AF12-0195EF250FA8}"/>
              </a:ext>
            </a:extLst>
          </p:cNvPr>
          <p:cNvSpPr txBox="1"/>
          <p:nvPr userDrawn="1"/>
        </p:nvSpPr>
        <p:spPr>
          <a:xfrm>
            <a:off x="7655064" y="5527439"/>
            <a:ext cx="2106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i="0" dirty="0">
                <a:solidFill>
                  <a:schemeClr val="tx2"/>
                </a:solidFill>
                <a:latin typeface="Verdana" panose="020B0604030504040204" pitchFamily="34" charset="0"/>
              </a:rPr>
              <a:t>T</a:t>
            </a:r>
          </a:p>
        </p:txBody>
      </p:sp>
      <p:sp>
        <p:nvSpPr>
          <p:cNvPr id="158" name="Textfeld 157">
            <a:extLst>
              <a:ext uri="{FF2B5EF4-FFF2-40B4-BE49-F238E27FC236}">
                <a16:creationId xmlns:a16="http://schemas.microsoft.com/office/drawing/2014/main" id="{922B0D4C-5129-7148-BE41-A5079023FF2A}"/>
              </a:ext>
            </a:extLst>
          </p:cNvPr>
          <p:cNvSpPr txBox="1"/>
          <p:nvPr userDrawn="1"/>
        </p:nvSpPr>
        <p:spPr>
          <a:xfrm>
            <a:off x="7655063" y="5733828"/>
            <a:ext cx="2106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i="0" dirty="0">
                <a:solidFill>
                  <a:schemeClr val="tx2"/>
                </a:solidFill>
                <a:latin typeface="Verdana" panose="020B0604030504040204" pitchFamily="34" charset="0"/>
              </a:rPr>
              <a:t>E</a:t>
            </a:r>
          </a:p>
        </p:txBody>
      </p:sp>
      <p:sp>
        <p:nvSpPr>
          <p:cNvPr id="159" name="Textplatzhalter 39">
            <a:extLst>
              <a:ext uri="{FF2B5EF4-FFF2-40B4-BE49-F238E27FC236}">
                <a16:creationId xmlns:a16="http://schemas.microsoft.com/office/drawing/2014/main" id="{8EBF9408-ABDE-374A-B141-0B773828E136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7649454" y="2708920"/>
            <a:ext cx="3709718" cy="1372227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buFont typeface="Wingdings" pitchFamily="2" charset="2"/>
              <a:buChar char="§"/>
              <a:defRPr sz="11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List max. 5 areas of experience</a:t>
            </a:r>
          </a:p>
        </p:txBody>
      </p:sp>
      <p:sp>
        <p:nvSpPr>
          <p:cNvPr id="160" name="Textfeld 159">
            <a:extLst>
              <a:ext uri="{FF2B5EF4-FFF2-40B4-BE49-F238E27FC236}">
                <a16:creationId xmlns:a16="http://schemas.microsoft.com/office/drawing/2014/main" id="{23C2932A-5C05-3245-9DE4-396E7C3ABF55}"/>
              </a:ext>
            </a:extLst>
          </p:cNvPr>
          <p:cNvSpPr txBox="1"/>
          <p:nvPr userDrawn="1"/>
        </p:nvSpPr>
        <p:spPr>
          <a:xfrm>
            <a:off x="7650231" y="2436352"/>
            <a:ext cx="3700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i="0" dirty="0">
                <a:solidFill>
                  <a:schemeClr val="tx2"/>
                </a:solidFill>
                <a:latin typeface="Verdana" panose="020B0604030504040204" pitchFamily="34" charset="0"/>
              </a:rPr>
              <a:t>FOCUS</a:t>
            </a:r>
          </a:p>
        </p:txBody>
      </p:sp>
      <p:sp>
        <p:nvSpPr>
          <p:cNvPr id="161" name="Textfeld 160">
            <a:extLst>
              <a:ext uri="{FF2B5EF4-FFF2-40B4-BE49-F238E27FC236}">
                <a16:creationId xmlns:a16="http://schemas.microsoft.com/office/drawing/2014/main" id="{CE817A04-8E2C-8D4A-9221-C6B7740999E2}"/>
              </a:ext>
            </a:extLst>
          </p:cNvPr>
          <p:cNvSpPr txBox="1"/>
          <p:nvPr userDrawn="1"/>
        </p:nvSpPr>
        <p:spPr>
          <a:xfrm>
            <a:off x="7649212" y="4136196"/>
            <a:ext cx="3700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i="0" dirty="0">
                <a:solidFill>
                  <a:schemeClr val="tx2"/>
                </a:solidFill>
                <a:latin typeface="Verdana" panose="020B0604030504040204" pitchFamily="34" charset="0"/>
              </a:rPr>
              <a:t>LINGUE</a:t>
            </a:r>
          </a:p>
        </p:txBody>
      </p:sp>
      <p:sp>
        <p:nvSpPr>
          <p:cNvPr id="162" name="Textplatzhalter 43">
            <a:extLst>
              <a:ext uri="{FF2B5EF4-FFF2-40B4-BE49-F238E27FC236}">
                <a16:creationId xmlns:a16="http://schemas.microsoft.com/office/drawing/2014/main" id="{9460DBA5-72FC-8543-86A4-E3ACDF4F9F9E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7647756" y="4400977"/>
            <a:ext cx="3709567" cy="351170"/>
          </a:xfrm>
          <a:prstGeom prst="rect">
            <a:avLst/>
          </a:prstGeom>
        </p:spPr>
        <p:txBody>
          <a:bodyPr/>
          <a:lstStyle>
            <a:lvl1pPr>
              <a:buNone/>
              <a:defRPr sz="11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Insert Languages</a:t>
            </a:r>
          </a:p>
        </p:txBody>
      </p:sp>
      <p:sp>
        <p:nvSpPr>
          <p:cNvPr id="163" name="Textplatzhalter 7">
            <a:extLst>
              <a:ext uri="{FF2B5EF4-FFF2-40B4-BE49-F238E27FC236}">
                <a16:creationId xmlns:a16="http://schemas.microsoft.com/office/drawing/2014/main" id="{E0246532-5EDB-7649-ABA9-246DA3B30E19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6149031" y="540000"/>
            <a:ext cx="5204648" cy="524223"/>
          </a:xfrm>
          <a:prstGeom prst="rect">
            <a:avLst/>
          </a:prstGeom>
        </p:spPr>
        <p:txBody>
          <a:bodyPr/>
          <a:lstStyle>
            <a:lvl1pPr>
              <a:buNone/>
              <a:defRPr sz="2400" b="0" i="0" cap="all" baseline="0">
                <a:solidFill>
                  <a:schemeClr val="tx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b="1" dirty="0"/>
              <a:t>NAME COGNOME</a:t>
            </a:r>
            <a:endParaRPr lang="en-US" dirty="0"/>
          </a:p>
        </p:txBody>
      </p:sp>
      <p:sp>
        <p:nvSpPr>
          <p:cNvPr id="164" name="Bildplatzhalter 6">
            <a:extLst>
              <a:ext uri="{FF2B5EF4-FFF2-40B4-BE49-F238E27FC236}">
                <a16:creationId xmlns:a16="http://schemas.microsoft.com/office/drawing/2014/main" id="{2BD3600D-F455-9742-995C-914D81BFF570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6264570" y="1941455"/>
            <a:ext cx="1263752" cy="15158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00" b="1" i="0">
                <a:solidFill>
                  <a:schemeClr val="tx2"/>
                </a:solidFill>
                <a:latin typeface="Verdana" panose="020B0604030504040204" pitchFamily="34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165" name="Textplatzhalter 31">
            <a:extLst>
              <a:ext uri="{FF2B5EF4-FFF2-40B4-BE49-F238E27FC236}">
                <a16:creationId xmlns:a16="http://schemas.microsoft.com/office/drawing/2014/main" id="{C47A0030-E73B-EE41-99E0-76520AC53C3A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7884034" y="5562035"/>
            <a:ext cx="3472786" cy="247230"/>
          </a:xfrm>
          <a:prstGeom prst="rect">
            <a:avLst/>
          </a:prstGeom>
        </p:spPr>
        <p:txBody>
          <a:bodyPr/>
          <a:lstStyle>
            <a:lvl1pPr>
              <a:buNone/>
              <a:defRPr sz="11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+XXXXXXXXXX</a:t>
            </a:r>
          </a:p>
        </p:txBody>
      </p:sp>
      <p:sp>
        <p:nvSpPr>
          <p:cNvPr id="166" name="Textplatzhalter 34">
            <a:extLst>
              <a:ext uri="{FF2B5EF4-FFF2-40B4-BE49-F238E27FC236}">
                <a16:creationId xmlns:a16="http://schemas.microsoft.com/office/drawing/2014/main" id="{A53B30D6-95CB-D948-9C07-A4B7A441E3C8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7884228" y="5775204"/>
            <a:ext cx="3472592" cy="280817"/>
          </a:xfrm>
          <a:prstGeom prst="rect">
            <a:avLst/>
          </a:prstGeom>
        </p:spPr>
        <p:txBody>
          <a:bodyPr/>
          <a:lstStyle>
            <a:lvl1pPr>
              <a:buNone/>
              <a:defRPr sz="11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 err="1"/>
              <a:t>email@email.com</a:t>
            </a:r>
            <a:endParaRPr lang="en-US" dirty="0"/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890A2A71-CEA4-BB44-9863-1BDC673A4D3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224645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S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05B8BD6-1DA5-1046-9D8E-8B502060DB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38314" y="1560121"/>
            <a:ext cx="1395428" cy="1349149"/>
          </a:xfrm>
          <a:prstGeom prst="rect">
            <a:avLst/>
          </a:prstGeom>
        </p:spPr>
        <p:txBody>
          <a:bodyPr anchor="ctr"/>
          <a:lstStyle>
            <a:lvl1pPr algn="l">
              <a:buClr>
                <a:schemeClr val="tx2"/>
              </a:buClr>
              <a:buFont typeface="Wingdings" pitchFamily="2" charset="2"/>
              <a:buNone/>
              <a:defRPr sz="7200" b="1" i="0">
                <a:solidFill>
                  <a:schemeClr val="accent4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6B440EB4-87C1-7C42-AF0E-9FF0CA28549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816256" y="3247080"/>
            <a:ext cx="1536942" cy="1349149"/>
          </a:xfrm>
          <a:prstGeom prst="rect">
            <a:avLst/>
          </a:prstGeom>
        </p:spPr>
        <p:txBody>
          <a:bodyPr anchor="ctr"/>
          <a:lstStyle>
            <a:lvl1pPr algn="r">
              <a:buClr>
                <a:schemeClr val="tx2"/>
              </a:buClr>
              <a:buFont typeface="Wingdings" pitchFamily="2" charset="2"/>
              <a:buNone/>
              <a:defRPr sz="7200" b="1" i="0">
                <a:solidFill>
                  <a:schemeClr val="accent5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4F31D1B1-12AB-7B48-9DAA-7F6A5CF5BED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38313" y="5046202"/>
            <a:ext cx="1536942" cy="1349149"/>
          </a:xfrm>
          <a:prstGeom prst="rect">
            <a:avLst/>
          </a:prstGeom>
        </p:spPr>
        <p:txBody>
          <a:bodyPr anchor="ctr"/>
          <a:lstStyle>
            <a:lvl1pPr algn="l">
              <a:buClr>
                <a:schemeClr val="tx2"/>
              </a:buClr>
              <a:buFont typeface="Wingdings" pitchFamily="2" charset="2"/>
              <a:buNone/>
              <a:defRPr sz="8000" b="1" i="0">
                <a:solidFill>
                  <a:schemeClr val="accent6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E0E49A6D-CFBC-614E-A412-40EBF8341FB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885781" y="2270973"/>
            <a:ext cx="3467417" cy="383064"/>
          </a:xfrm>
          <a:prstGeom prst="rect">
            <a:avLst/>
          </a:prstGeom>
        </p:spPr>
        <p:txBody>
          <a:bodyPr anchor="b"/>
          <a:lstStyle>
            <a:lvl1pPr marL="11113" indent="-11113" algn="l">
              <a:buClr>
                <a:schemeClr val="tx2"/>
              </a:buClr>
              <a:buFont typeface="Wingdings" pitchFamily="2" charset="2"/>
              <a:buNone/>
              <a:tabLst/>
              <a:defRPr sz="28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LOREM IPSUM FACT</a:t>
            </a: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F319839F-38A3-2F4B-817F-AAB6D34D24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38314" y="3983980"/>
            <a:ext cx="3467417" cy="383064"/>
          </a:xfrm>
          <a:prstGeom prst="rect">
            <a:avLst/>
          </a:prstGeom>
        </p:spPr>
        <p:txBody>
          <a:bodyPr anchor="b"/>
          <a:lstStyle>
            <a:lvl1pPr marL="11113" indent="-11113" algn="r">
              <a:buClr>
                <a:schemeClr val="tx2"/>
              </a:buClr>
              <a:buFont typeface="Wingdings" pitchFamily="2" charset="2"/>
              <a:buNone/>
              <a:tabLst/>
              <a:defRPr sz="28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DOLOR SIT FACT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76DB2194-4C90-C84E-B35C-08E9234DA8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885781" y="5809151"/>
            <a:ext cx="3467417" cy="383064"/>
          </a:xfrm>
          <a:prstGeom prst="rect">
            <a:avLst/>
          </a:prstGeom>
        </p:spPr>
        <p:txBody>
          <a:bodyPr anchor="b"/>
          <a:lstStyle>
            <a:lvl1pPr marL="11113" indent="-11113" algn="l">
              <a:buClr>
                <a:schemeClr val="tx2"/>
              </a:buClr>
              <a:buFont typeface="Wingdings" pitchFamily="2" charset="2"/>
              <a:buNone/>
              <a:tabLst/>
              <a:defRPr sz="28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AMET FACT</a:t>
            </a:r>
          </a:p>
        </p:txBody>
      </p:sp>
      <p:sp>
        <p:nvSpPr>
          <p:cNvPr id="22" name="Foliennummernplatzhalter 21">
            <a:extLst>
              <a:ext uri="{FF2B5EF4-FFF2-40B4-BE49-F238E27FC236}">
                <a16:creationId xmlns:a16="http://schemas.microsoft.com/office/drawing/2014/main" id="{6FB28BD9-FCCB-1C41-B721-98F292BF4156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D7EFFF31-C183-9548-9AE4-E16638BE6B8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5200" y="2088000"/>
            <a:ext cx="6072196" cy="3988879"/>
          </a:xfrm>
          <a:prstGeom prst="rect">
            <a:avLst/>
          </a:prstGeom>
        </p:spPr>
        <p:txBody>
          <a:bodyPr/>
          <a:lstStyle>
            <a:lvl1pPr marL="0" indent="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285750" indent="-28575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360000" indent="-18000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540000" indent="-18000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365125" indent="-365125" algn="just">
              <a:lnSpc>
                <a:spcPct val="150000"/>
              </a:lnSpc>
              <a:buClr>
                <a:schemeClr val="tx2"/>
              </a:buClr>
              <a:buFont typeface="+mj-lt"/>
              <a:buAutoNum type="arabicPeriod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  <a:p>
            <a:pPr lvl="4"/>
            <a:endParaRPr lang="en-US" dirty="0"/>
          </a:p>
        </p:txBody>
      </p:sp>
      <p:sp>
        <p:nvSpPr>
          <p:cNvPr id="25" name="Textplatzhalter 4">
            <a:extLst>
              <a:ext uri="{FF2B5EF4-FFF2-40B4-BE49-F238E27FC236}">
                <a16:creationId xmlns:a16="http://schemas.microsoft.com/office/drawing/2014/main" id="{A3FDFA9D-13F3-0D4A-BED6-10F92E24473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5200" y="1772816"/>
            <a:ext cx="6072639" cy="365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/>
              <a:t>Click to edit</a:t>
            </a:r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3512E5AF-99DD-5B49-B9E1-AB2FB0837BC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  <p:sp>
        <p:nvSpPr>
          <p:cNvPr id="15" name="Textplatzhalter 11">
            <a:extLst>
              <a:ext uri="{FF2B5EF4-FFF2-40B4-BE49-F238E27FC236}">
                <a16:creationId xmlns:a16="http://schemas.microsoft.com/office/drawing/2014/main" id="{D10261C8-E5D1-0345-833B-DB5CA0D04A3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38802" y="1069274"/>
            <a:ext cx="10514398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  <p:sp>
        <p:nvSpPr>
          <p:cNvPr id="20" name="Titel 2">
            <a:extLst>
              <a:ext uri="{FF2B5EF4-FFF2-40B4-BE49-F238E27FC236}">
                <a16:creationId xmlns:a16="http://schemas.microsoft.com/office/drawing/2014/main" id="{FD289B51-D032-764A-A0E8-667F20CCB8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1" y="540000"/>
            <a:ext cx="10514397" cy="52422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cap="all" baseline="0"/>
            </a:lvl1pPr>
          </a:lstStyle>
          <a:p>
            <a:r>
              <a:rPr lang="de-DE" dirty="0"/>
              <a:t>PAGE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023508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2DAE674A-1C5A-5840-848A-6616AE5A569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35200" y="2087999"/>
            <a:ext cx="6432123" cy="3988880"/>
          </a:xfrm>
          <a:prstGeom prst="rect">
            <a:avLst/>
          </a:prstGeom>
        </p:spPr>
        <p:txBody>
          <a:bodyPr/>
          <a:lstStyle>
            <a:lvl1pPr marL="0" indent="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285750" indent="-28575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360000" indent="-18000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540000" indent="-18000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365125" indent="-365125" algn="just">
              <a:lnSpc>
                <a:spcPct val="150000"/>
              </a:lnSpc>
              <a:buClr>
                <a:schemeClr val="tx2"/>
              </a:buClr>
              <a:buFont typeface="+mj-lt"/>
              <a:buAutoNum type="arabicPeriod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  <a:p>
            <a:pPr lvl="4"/>
            <a:endParaRPr lang="en-US" dirty="0"/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EDB56C3B-58AA-DF4D-80A0-7B302361B28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35200" y="1772816"/>
            <a:ext cx="6432592" cy="365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9B7D45B1-B05F-AF49-BAE5-85C8B630B891}"/>
              </a:ext>
            </a:extLst>
          </p:cNvPr>
          <p:cNvSpPr/>
          <p:nvPr userDrawn="1"/>
        </p:nvSpPr>
        <p:spPr>
          <a:xfrm>
            <a:off x="7552707" y="1924594"/>
            <a:ext cx="4639294" cy="415228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53D68D0E-DE4A-A049-A940-57B6C93124F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23073" y="3744181"/>
            <a:ext cx="3330125" cy="1988726"/>
          </a:xfrm>
          <a:prstGeom prst="rect">
            <a:avLst/>
          </a:prstGeom>
        </p:spPr>
        <p:txBody>
          <a:bodyPr/>
          <a:lstStyle>
            <a:lvl1pPr marL="7938" indent="-7938">
              <a:buClr>
                <a:schemeClr val="tx2"/>
              </a:buClr>
              <a:buFont typeface="Wingdings" pitchFamily="2" charset="2"/>
              <a:buNone/>
              <a:tabLst/>
              <a:defRPr sz="1700" b="1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 marL="7938" indent="0">
              <a:buClr>
                <a:schemeClr val="accent4"/>
              </a:buClr>
              <a:buFont typeface="Wingdings" pitchFamily="2" charset="2"/>
              <a:buNone/>
              <a:tabLst/>
              <a:defRPr sz="1700" b="0" i="0">
                <a:solidFill>
                  <a:schemeClr val="bg1"/>
                </a:solidFill>
                <a:latin typeface="Verdana" panose="020B0604030504040204" pitchFamily="34" charset="0"/>
              </a:defRPr>
            </a:lvl2pPr>
            <a:lvl3pPr marL="180000" indent="-180000">
              <a:buClr>
                <a:schemeClr val="bg1"/>
              </a:buClr>
              <a:buFont typeface="Wingdings" pitchFamily="2" charset="2"/>
              <a:buChar char="§"/>
              <a:tabLst/>
              <a:defRPr sz="1700" b="0" i="0">
                <a:solidFill>
                  <a:schemeClr val="bg1"/>
                </a:solidFill>
                <a:latin typeface="Verdana" panose="020B0604030504040204" pitchFamily="34" charset="0"/>
              </a:defRPr>
            </a:lvl3pPr>
            <a:lvl4pPr marL="360000" indent="-180000">
              <a:buClr>
                <a:schemeClr val="bg1"/>
              </a:buClr>
              <a:buFont typeface="Wingdings" pitchFamily="2" charset="2"/>
              <a:buChar char="§"/>
              <a:tabLst/>
              <a:defRPr sz="1700" b="0" i="0">
                <a:solidFill>
                  <a:schemeClr val="bg1"/>
                </a:solidFill>
                <a:latin typeface="Verdana" panose="020B0604030504040204" pitchFamily="34" charset="0"/>
              </a:defRPr>
            </a:lvl4pPr>
            <a:lvl5pPr marL="540000" indent="-180000">
              <a:buClr>
                <a:schemeClr val="bg1"/>
              </a:buClr>
              <a:buFont typeface="Wingdings" pitchFamily="2" charset="2"/>
              <a:buChar char="§"/>
              <a:tabLst/>
              <a:defRPr sz="1700" b="0" i="0">
                <a:solidFill>
                  <a:schemeClr val="bg1"/>
                </a:solidFill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TIT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  <a:p>
            <a:pPr lvl="4"/>
            <a:endParaRPr lang="en-US" dirty="0"/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EB4A4C63-1D0E-604A-99B5-464A26AC213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23074" y="2227706"/>
            <a:ext cx="3330125" cy="1349149"/>
          </a:xfrm>
          <a:prstGeom prst="rect">
            <a:avLst/>
          </a:prstGeom>
        </p:spPr>
        <p:txBody>
          <a:bodyPr anchor="ctr"/>
          <a:lstStyle>
            <a:lvl1pPr>
              <a:buClr>
                <a:schemeClr val="tx2"/>
              </a:buClr>
              <a:buFont typeface="Wingdings" pitchFamily="2" charset="2"/>
              <a:buNone/>
              <a:defRPr sz="8000" b="1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XX%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DFEB040-C9F3-3B4C-BA04-DE8B3C2B6DE5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DB3BC04D-1DBD-854F-84BE-D6E2777BD4B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4E12860B-C5D7-2144-AB48-719B3801A50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8802" y="1069274"/>
            <a:ext cx="10514398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  <p:sp>
        <p:nvSpPr>
          <p:cNvPr id="12" name="Titel 2">
            <a:extLst>
              <a:ext uri="{FF2B5EF4-FFF2-40B4-BE49-F238E27FC236}">
                <a16:creationId xmlns:a16="http://schemas.microsoft.com/office/drawing/2014/main" id="{49E25614-0ABB-964F-831A-E61E413CE4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1" y="540000"/>
            <a:ext cx="10514397" cy="52422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cap="all" baseline="0"/>
            </a:lvl1pPr>
          </a:lstStyle>
          <a:p>
            <a:r>
              <a:rPr lang="de-DE" dirty="0"/>
              <a:t>PAGE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875771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S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1F6C9BC-6890-6545-AB1C-7B8E05A581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45957" y="4272566"/>
            <a:ext cx="3362836" cy="1804313"/>
          </a:xfrm>
          <a:prstGeom prst="rect">
            <a:avLst/>
          </a:prstGeom>
        </p:spPr>
        <p:txBody>
          <a:bodyPr/>
          <a:lstStyle>
            <a:lvl1pPr marL="7938" indent="-7938">
              <a:lnSpc>
                <a:spcPct val="100000"/>
              </a:lnSpc>
              <a:buClr>
                <a:schemeClr val="tx2"/>
              </a:buClr>
              <a:buFont typeface="Wingdings" pitchFamily="2" charset="2"/>
              <a:buNone/>
              <a:tabLst/>
              <a:defRPr sz="1400" b="1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 marL="7938" indent="0">
              <a:lnSpc>
                <a:spcPct val="100000"/>
              </a:lnSpc>
              <a:buClr>
                <a:schemeClr val="accent4"/>
              </a:buClr>
              <a:buFont typeface="Wingdings" pitchFamily="2" charset="2"/>
              <a:buNone/>
              <a:tabLst/>
              <a:defRPr sz="14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80000" indent="-180000">
              <a:lnSpc>
                <a:spcPct val="10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sz="1400" b="0" i="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360000" indent="-180000">
              <a:lnSpc>
                <a:spcPct val="10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sz="1400" b="0" i="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540000" indent="-180000">
              <a:lnSpc>
                <a:spcPct val="10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sz="1400" b="0" i="0">
                <a:solidFill>
                  <a:schemeClr val="bg2"/>
                </a:solidFill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TIT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05B8BD6-1DA5-1046-9D8E-8B502060DB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36750" y="2708920"/>
            <a:ext cx="3364058" cy="1349149"/>
          </a:xfrm>
          <a:prstGeom prst="rect">
            <a:avLst/>
          </a:prstGeom>
        </p:spPr>
        <p:txBody>
          <a:bodyPr anchor="ctr"/>
          <a:lstStyle>
            <a:lvl1pPr>
              <a:buClr>
                <a:schemeClr val="tx2"/>
              </a:buClr>
              <a:buFont typeface="Wingdings" pitchFamily="2" charset="2"/>
              <a:buNone/>
              <a:defRPr sz="8500" b="1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XX%</a:t>
            </a:r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6B440EB4-87C1-7C42-AF0E-9FF0CA28549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16226" y="2708920"/>
            <a:ext cx="3364058" cy="1349149"/>
          </a:xfrm>
          <a:prstGeom prst="rect">
            <a:avLst/>
          </a:prstGeom>
        </p:spPr>
        <p:txBody>
          <a:bodyPr anchor="ctr"/>
          <a:lstStyle>
            <a:lvl1pPr>
              <a:buClr>
                <a:schemeClr val="tx2"/>
              </a:buClr>
              <a:buFont typeface="Wingdings" pitchFamily="2" charset="2"/>
              <a:buNone/>
              <a:defRPr sz="8500" b="1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XX%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4F31D1B1-12AB-7B48-9DAA-7F6A5CF5BED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987090" y="2708919"/>
            <a:ext cx="3364058" cy="1349149"/>
          </a:xfrm>
          <a:prstGeom prst="rect">
            <a:avLst/>
          </a:prstGeom>
        </p:spPr>
        <p:txBody>
          <a:bodyPr anchor="ctr"/>
          <a:lstStyle>
            <a:lvl1pPr>
              <a:buClr>
                <a:schemeClr val="tx2"/>
              </a:buClr>
              <a:buFont typeface="Wingdings" pitchFamily="2" charset="2"/>
              <a:buNone/>
              <a:defRPr sz="8500" b="1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XX%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223E77E-35A5-334D-A077-6668DF248B1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15633" y="4272566"/>
            <a:ext cx="3362836" cy="1804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tabLst/>
              <a:defRPr lang="de-DE" sz="1400" b="1" i="0" kern="1200" dirty="0">
                <a:solidFill>
                  <a:schemeClr val="tx2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buClr>
                <a:schemeClr val="accent5"/>
              </a:buClr>
              <a:buFont typeface="Wingdings" pitchFamily="2" charset="2"/>
              <a:buNone/>
              <a:tabLst/>
              <a:defRPr sz="1400">
                <a:solidFill>
                  <a:schemeClr val="bg2"/>
                </a:solidFill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Char char="§"/>
              <a:tabLst/>
              <a:defRPr lang="de-DE" sz="14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Char char="§"/>
              <a:tabLst/>
              <a:defRPr lang="de-DE" sz="14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Char char="§"/>
              <a:tabLst/>
              <a:defRPr lang="en-US" sz="14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GB" noProof="0" dirty="0"/>
              <a:t>TIT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A4FF302F-BF1D-8E4B-8392-CB8A8155EAE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985903" y="4272004"/>
            <a:ext cx="3364059" cy="1804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tabLst/>
              <a:defRPr lang="de-DE" sz="1400" b="1" i="0" kern="1200" dirty="0">
                <a:solidFill>
                  <a:schemeClr val="tx2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3600" indent="0">
              <a:lnSpc>
                <a:spcPct val="100000"/>
              </a:lnSpc>
              <a:buClr>
                <a:schemeClr val="accent6"/>
              </a:buClr>
              <a:buFont typeface="Wingdings" pitchFamily="2" charset="2"/>
              <a:buNone/>
              <a:tabLst/>
              <a:defRPr sz="1400">
                <a:solidFill>
                  <a:schemeClr val="bg2"/>
                </a:solidFill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Char char="§"/>
              <a:tabLst/>
              <a:defRPr lang="de-DE" sz="14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Char char="§"/>
              <a:tabLst/>
              <a:defRPr lang="de-DE" sz="14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Char char="§"/>
              <a:tabLst/>
              <a:defRPr lang="en-US" sz="14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GB" noProof="0" dirty="0"/>
              <a:t>TIT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00B6D74-77C9-4E4E-BAF5-A7A2496E5AC7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E74BE627-D87D-B64F-98E1-97F0A63FE36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77EEAA55-A66C-4F47-9A94-F8C9614F0CD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8802" y="1069274"/>
            <a:ext cx="10514398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  <p:sp>
        <p:nvSpPr>
          <p:cNvPr id="17" name="Titel 2">
            <a:extLst>
              <a:ext uri="{FF2B5EF4-FFF2-40B4-BE49-F238E27FC236}">
                <a16:creationId xmlns:a16="http://schemas.microsoft.com/office/drawing/2014/main" id="{F9C4B3E5-726F-5E45-9FF8-67B09C0183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1" y="540000"/>
            <a:ext cx="10514397" cy="52422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cap="all" baseline="0"/>
            </a:lvl1pPr>
          </a:lstStyle>
          <a:p>
            <a:r>
              <a:rPr lang="de-DE" dirty="0"/>
              <a:t>PAGE TITLE</a:t>
            </a:r>
            <a:endParaRPr lang="en-US" dirty="0"/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1FF17172-91A8-5443-87C4-BC2CB11EC44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34088" y="1869018"/>
            <a:ext cx="10509903" cy="674331"/>
          </a:xfrm>
          <a:prstGeom prst="rect">
            <a:avLst/>
          </a:prstGeom>
        </p:spPr>
        <p:txBody>
          <a:bodyPr/>
          <a:lstStyle>
            <a:lvl1pPr marL="0" indent="0" algn="just">
              <a:buClr>
                <a:schemeClr val="tx2"/>
              </a:buClr>
              <a:buFont typeface="Wingdings" pitchFamily="2" charset="2"/>
              <a:buNone/>
              <a:defRPr sz="11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180000" indent="-180000" algn="just">
              <a:buClr>
                <a:schemeClr val="tx2"/>
              </a:buClr>
              <a:buFont typeface="Wingdings" pitchFamily="2" charset="2"/>
              <a:buChar char="§"/>
              <a:tabLst/>
              <a:defRPr sz="11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360000" indent="-180000" algn="just">
              <a:buClr>
                <a:schemeClr val="tx2"/>
              </a:buClr>
              <a:buFont typeface="Wingdings" pitchFamily="2" charset="2"/>
              <a:buChar char="§"/>
              <a:tabLst/>
              <a:defRPr sz="1100" b="0" i="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540000" indent="-180000" algn="just">
              <a:buClr>
                <a:schemeClr val="tx2"/>
              </a:buClr>
              <a:buFont typeface="Wingdings" pitchFamily="2" charset="2"/>
              <a:buChar char="§"/>
              <a:tabLst/>
              <a:defRPr sz="1100" b="0" i="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363600" indent="-363600" algn="just">
              <a:buClr>
                <a:schemeClr val="tx2"/>
              </a:buClr>
              <a:buFont typeface="+mj-lt"/>
              <a:buAutoNum type="arabicPeriod"/>
              <a:tabLst/>
              <a:defRPr sz="1100" b="0" i="0">
                <a:solidFill>
                  <a:schemeClr val="bg2"/>
                </a:solidFill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/>
              <a:t>Click to edi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9809296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S_2_EMPHASIZ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00B6D74-77C9-4E4E-BAF5-A7A2496E5AC7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792E2AC7-18B5-A849-9D6C-EA2156B9B3C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808892" y="1037813"/>
            <a:ext cx="5544306" cy="4404159"/>
          </a:xfrm>
          <a:prstGeom prst="rect">
            <a:avLst/>
          </a:prstGeom>
        </p:spPr>
        <p:txBody>
          <a:bodyPr anchor="ctr"/>
          <a:lstStyle>
            <a:lvl1pPr>
              <a:buClr>
                <a:schemeClr val="tx2"/>
              </a:buClr>
              <a:buFont typeface="Wingdings" pitchFamily="2" charset="2"/>
              <a:buNone/>
              <a:defRPr sz="25000" b="1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65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FC12E455-F0E0-574F-85C9-1A93F9A3728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169922" y="3334358"/>
            <a:ext cx="1183276" cy="10559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5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%</a:t>
            </a:r>
            <a:endParaRPr lang="en-US" dirty="0"/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4278E79D-FAB7-4A4A-9D7B-5BEF3A1D845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5200" y="2088001"/>
            <a:ext cx="4786106" cy="3988878"/>
          </a:xfrm>
          <a:prstGeom prst="rect">
            <a:avLst/>
          </a:prstGeom>
        </p:spPr>
        <p:txBody>
          <a:bodyPr/>
          <a:lstStyle>
            <a:lvl1pPr marL="0" indent="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285750" indent="-28575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360000" indent="-18000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540000" indent="-18000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365125" indent="-365125" algn="just">
              <a:lnSpc>
                <a:spcPct val="150000"/>
              </a:lnSpc>
              <a:buClr>
                <a:schemeClr val="tx2"/>
              </a:buClr>
              <a:buFont typeface="+mj-lt"/>
              <a:buAutoNum type="arabicPeriod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8B367A25-B3B4-A842-8852-51D1CDE2378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35200" y="1772816"/>
            <a:ext cx="4786455" cy="365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/>
              <a:t>Click to edit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4974EABD-7CFB-1F41-B519-4064EA79CD9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6597034D-BF9C-D648-A566-14ED57BF4E9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38802" y="1069274"/>
            <a:ext cx="10514398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  <p:sp>
        <p:nvSpPr>
          <p:cNvPr id="16" name="Titel 2">
            <a:extLst>
              <a:ext uri="{FF2B5EF4-FFF2-40B4-BE49-F238E27FC236}">
                <a16:creationId xmlns:a16="http://schemas.microsoft.com/office/drawing/2014/main" id="{A10AA0C4-65D9-A24E-B280-EB54BCDE1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1" y="540000"/>
            <a:ext cx="10514397" cy="52422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cap="all" baseline="0"/>
            </a:lvl1pPr>
          </a:lstStyle>
          <a:p>
            <a:r>
              <a:rPr lang="de-DE" dirty="0"/>
              <a:t>PAGE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126336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Inhaltsplatzhalter 7">
            <a:extLst>
              <a:ext uri="{FF2B5EF4-FFF2-40B4-BE49-F238E27FC236}">
                <a16:creationId xmlns:a16="http://schemas.microsoft.com/office/drawing/2014/main" id="{A095D895-6A5A-7F47-8493-65B742F4158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36125" y="5154158"/>
            <a:ext cx="914400" cy="914400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Icon</a:t>
            </a:r>
          </a:p>
        </p:txBody>
      </p:sp>
      <p:sp>
        <p:nvSpPr>
          <p:cNvPr id="26" name="Inhaltsplatzhalter 7">
            <a:extLst>
              <a:ext uri="{FF2B5EF4-FFF2-40B4-BE49-F238E27FC236}">
                <a16:creationId xmlns:a16="http://schemas.microsoft.com/office/drawing/2014/main" id="{ED2853C4-E70E-0C49-8CE3-AA0D033FF3EB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935509" y="4082579"/>
            <a:ext cx="914400" cy="914400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Icon</a:t>
            </a:r>
          </a:p>
        </p:txBody>
      </p:sp>
      <p:sp>
        <p:nvSpPr>
          <p:cNvPr id="25" name="Inhaltsplatzhalter 7">
            <a:extLst>
              <a:ext uri="{FF2B5EF4-FFF2-40B4-BE49-F238E27FC236}">
                <a16:creationId xmlns:a16="http://schemas.microsoft.com/office/drawing/2014/main" id="{016C5D3F-254E-8F4A-AFC2-4780D8EDC037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36141" y="3011001"/>
            <a:ext cx="914400" cy="914400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Icon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44F9B311-7212-BB44-8EF8-5DCBB7CFF1AA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36141" y="1939423"/>
            <a:ext cx="914400" cy="914400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Icon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96F8BE64-EF32-B34C-B829-38D075777C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36125" y="1939423"/>
            <a:ext cx="9216443" cy="914400"/>
          </a:xfrm>
          <a:prstGeom prst="rect">
            <a:avLst/>
          </a:prstGeom>
        </p:spPr>
        <p:txBody>
          <a:bodyPr anchor="ctr"/>
          <a:lstStyle>
            <a:lvl1pPr marL="11113" indent="-11113">
              <a:buNone/>
              <a:tabLst/>
              <a:defRPr sz="1700" b="1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 marL="11113" indent="-11113">
              <a:buNone/>
              <a:tabLst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291D7A8-E264-0149-966B-7457947CA19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18" name="Textplatzhalter 19">
            <a:extLst>
              <a:ext uri="{FF2B5EF4-FFF2-40B4-BE49-F238E27FC236}">
                <a16:creationId xmlns:a16="http://schemas.microsoft.com/office/drawing/2014/main" id="{7BFCC3DD-E82B-4C44-B958-D768B701775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136125" y="3011001"/>
            <a:ext cx="9216443" cy="914400"/>
          </a:xfrm>
          <a:prstGeom prst="rect">
            <a:avLst/>
          </a:prstGeom>
        </p:spPr>
        <p:txBody>
          <a:bodyPr anchor="ctr"/>
          <a:lstStyle>
            <a:lvl1pPr marL="11113" indent="-11113">
              <a:buNone/>
              <a:tabLst/>
              <a:defRPr sz="1700" b="1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 marL="11113" indent="-11113">
              <a:buNone/>
              <a:tabLst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9" name="Textplatzhalter 19">
            <a:extLst>
              <a:ext uri="{FF2B5EF4-FFF2-40B4-BE49-F238E27FC236}">
                <a16:creationId xmlns:a16="http://schemas.microsoft.com/office/drawing/2014/main" id="{8B8E5F78-0378-7445-A5C0-54B76D99B03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136125" y="4082579"/>
            <a:ext cx="9216443" cy="914400"/>
          </a:xfrm>
          <a:prstGeom prst="rect">
            <a:avLst/>
          </a:prstGeom>
        </p:spPr>
        <p:txBody>
          <a:bodyPr anchor="ctr"/>
          <a:lstStyle>
            <a:lvl1pPr marL="11113" indent="-11113">
              <a:buNone/>
              <a:tabLst/>
              <a:defRPr sz="1700" b="1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 marL="11113" indent="-11113">
              <a:buNone/>
              <a:tabLst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23" name="Textplatzhalter 19">
            <a:extLst>
              <a:ext uri="{FF2B5EF4-FFF2-40B4-BE49-F238E27FC236}">
                <a16:creationId xmlns:a16="http://schemas.microsoft.com/office/drawing/2014/main" id="{D9A28B69-0CCF-784A-BF27-7813A749E95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136124" y="5154158"/>
            <a:ext cx="9216444" cy="914400"/>
          </a:xfrm>
          <a:prstGeom prst="rect">
            <a:avLst/>
          </a:prstGeom>
        </p:spPr>
        <p:txBody>
          <a:bodyPr anchor="ctr"/>
          <a:lstStyle>
            <a:lvl1pPr marL="11113" indent="-11113">
              <a:buNone/>
              <a:tabLst/>
              <a:defRPr sz="1700" b="1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 marL="11113" indent="-11113">
              <a:buNone/>
              <a:tabLst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255B27C5-885C-ED42-B108-D0AEDB9F0E3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C230ED03-CE13-9043-8450-80F59BC0832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38802" y="1069274"/>
            <a:ext cx="10514398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  <p:sp>
        <p:nvSpPr>
          <p:cNvPr id="15" name="Titel 2">
            <a:extLst>
              <a:ext uri="{FF2B5EF4-FFF2-40B4-BE49-F238E27FC236}">
                <a16:creationId xmlns:a16="http://schemas.microsoft.com/office/drawing/2014/main" id="{2DABD92B-1959-824F-B541-7C7B906A22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1" y="540000"/>
            <a:ext cx="10514397" cy="52422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cap="all" baseline="0"/>
            </a:lvl1pPr>
          </a:lstStyle>
          <a:p>
            <a:r>
              <a:rPr lang="de-DE" dirty="0"/>
              <a:t>PAGE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22483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Inhaltsplatzhalter 15">
            <a:extLst>
              <a:ext uri="{FF2B5EF4-FFF2-40B4-BE49-F238E27FC236}">
                <a16:creationId xmlns:a16="http://schemas.microsoft.com/office/drawing/2014/main" id="{E5E1342B-F97F-8042-A576-24DC3730F5A4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7896199" y="2303396"/>
            <a:ext cx="914400" cy="914400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Icon</a:t>
            </a:r>
          </a:p>
        </p:txBody>
      </p:sp>
      <p:sp>
        <p:nvSpPr>
          <p:cNvPr id="25" name="Inhaltsplatzhalter 15">
            <a:extLst>
              <a:ext uri="{FF2B5EF4-FFF2-40B4-BE49-F238E27FC236}">
                <a16:creationId xmlns:a16="http://schemas.microsoft.com/office/drawing/2014/main" id="{B8EE94F3-ABD2-054E-BF88-27BD3F159045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703946" y="2303181"/>
            <a:ext cx="914400" cy="914400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Icon</a:t>
            </a:r>
          </a:p>
        </p:txBody>
      </p:sp>
      <p:sp>
        <p:nvSpPr>
          <p:cNvPr id="16" name="Inhaltsplatzhalter 15">
            <a:extLst>
              <a:ext uri="{FF2B5EF4-FFF2-40B4-BE49-F238E27FC236}">
                <a16:creationId xmlns:a16="http://schemas.microsoft.com/office/drawing/2014/main" id="{6BDF366B-7F87-404E-8B31-45FECEFDC385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511692" y="2303181"/>
            <a:ext cx="914400" cy="914400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Icon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96F8BE64-EF32-B34C-B829-38D075777C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11605" y="3664776"/>
            <a:ext cx="2845376" cy="2412103"/>
          </a:xfrm>
          <a:prstGeom prst="rect">
            <a:avLst/>
          </a:prstGeom>
        </p:spPr>
        <p:txBody>
          <a:bodyPr/>
          <a:lstStyle>
            <a:lvl1pPr marL="11113" indent="-11113">
              <a:buNone/>
              <a:tabLst/>
              <a:defRPr sz="1400" b="1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 marL="11113" indent="-11113">
              <a:buNone/>
              <a:tabLst/>
              <a:defRPr sz="14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22" name="Textplatzhalter 19">
            <a:extLst>
              <a:ext uri="{FF2B5EF4-FFF2-40B4-BE49-F238E27FC236}">
                <a16:creationId xmlns:a16="http://schemas.microsoft.com/office/drawing/2014/main" id="{4588405E-8B00-8543-8027-E69BFCAF14E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03903" y="3664776"/>
            <a:ext cx="2845376" cy="2412103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lang="de-DE" sz="1400" b="1" i="0" kern="1200" dirty="0">
                <a:solidFill>
                  <a:schemeClr val="tx2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11113" indent="-11113">
              <a:buNone/>
              <a:tabLst/>
              <a:defRPr sz="14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0072B0B5-217F-A44F-A0E5-891429A7D8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96200" y="3664776"/>
            <a:ext cx="2845376" cy="2412103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lang="de-DE" sz="1400" b="1" i="0" kern="1200" dirty="0">
                <a:solidFill>
                  <a:schemeClr val="tx2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11113" indent="-11113">
              <a:buNone/>
              <a:tabLst/>
              <a:defRPr sz="14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796C28CD-D9A3-4245-88CD-BD7B0E80B454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599EEAF0-DC10-294A-9C60-8505B96F1F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5FAC1C24-1B7B-874D-9051-5D2E64FD902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38802" y="1069274"/>
            <a:ext cx="10514398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  <p:sp>
        <p:nvSpPr>
          <p:cNvPr id="13" name="Titel 2">
            <a:extLst>
              <a:ext uri="{FF2B5EF4-FFF2-40B4-BE49-F238E27FC236}">
                <a16:creationId xmlns:a16="http://schemas.microsoft.com/office/drawing/2014/main" id="{BAC19F4A-7ADB-4D4C-BB55-FE0F39A8D8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1" y="540000"/>
            <a:ext cx="10514397" cy="52422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cap="all" baseline="0"/>
            </a:lvl1pPr>
          </a:lstStyle>
          <a:p>
            <a:r>
              <a:rPr lang="de-DE" dirty="0"/>
              <a:t>PAGE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593615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Inhaltsplatzhalter 7">
            <a:extLst>
              <a:ext uri="{FF2B5EF4-FFF2-40B4-BE49-F238E27FC236}">
                <a16:creationId xmlns:a16="http://schemas.microsoft.com/office/drawing/2014/main" id="{A095D895-6A5A-7F47-8493-65B742F4158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072704" y="2298563"/>
            <a:ext cx="914400" cy="914400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Icon</a:t>
            </a:r>
          </a:p>
        </p:txBody>
      </p:sp>
      <p:sp>
        <p:nvSpPr>
          <p:cNvPr id="26" name="Inhaltsplatzhalter 7">
            <a:extLst>
              <a:ext uri="{FF2B5EF4-FFF2-40B4-BE49-F238E27FC236}">
                <a16:creationId xmlns:a16="http://schemas.microsoft.com/office/drawing/2014/main" id="{ED2853C4-E70E-0C49-8CE3-AA0D033FF3EB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326840" y="2303396"/>
            <a:ext cx="914400" cy="914400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Icon</a:t>
            </a:r>
          </a:p>
        </p:txBody>
      </p:sp>
      <p:sp>
        <p:nvSpPr>
          <p:cNvPr id="25" name="Inhaltsplatzhalter 7">
            <a:extLst>
              <a:ext uri="{FF2B5EF4-FFF2-40B4-BE49-F238E27FC236}">
                <a16:creationId xmlns:a16="http://schemas.microsoft.com/office/drawing/2014/main" id="{016C5D3F-254E-8F4A-AFC2-4780D8EDC037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580976" y="2298563"/>
            <a:ext cx="914400" cy="914400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Icon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44F9B311-7212-BB44-8EF8-5DCBB7CFF1AA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835112" y="2298563"/>
            <a:ext cx="914400" cy="914400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Icon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96F8BE64-EF32-B34C-B829-38D075777C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5025" y="3664776"/>
            <a:ext cx="2275603" cy="2412103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lang="de-DE" sz="1400" b="1" i="0" kern="1200" dirty="0">
                <a:solidFill>
                  <a:schemeClr val="tx2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11113" indent="-11113">
              <a:buNone/>
              <a:tabLst/>
              <a:defRPr sz="14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21" name="Textplatzhalter 19">
            <a:extLst>
              <a:ext uri="{FF2B5EF4-FFF2-40B4-BE49-F238E27FC236}">
                <a16:creationId xmlns:a16="http://schemas.microsoft.com/office/drawing/2014/main" id="{E67049CD-071E-1B48-81FD-C653283E94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81005" y="3664776"/>
            <a:ext cx="2275603" cy="2412103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lang="de-DE" sz="1400" b="1" i="0" kern="1200" dirty="0">
                <a:solidFill>
                  <a:schemeClr val="tx2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11113" indent="-11113">
              <a:buNone/>
              <a:tabLst/>
              <a:defRPr sz="14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22" name="Textplatzhalter 19">
            <a:extLst>
              <a:ext uri="{FF2B5EF4-FFF2-40B4-BE49-F238E27FC236}">
                <a16:creationId xmlns:a16="http://schemas.microsoft.com/office/drawing/2014/main" id="{4588405E-8B00-8543-8027-E69BFCAF14E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26985" y="3664776"/>
            <a:ext cx="2275603" cy="2412103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lang="de-DE" sz="1400" b="1" i="0" kern="1200" dirty="0">
                <a:solidFill>
                  <a:schemeClr val="tx2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11113" indent="-11113">
              <a:buNone/>
              <a:tabLst/>
              <a:defRPr sz="14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0072B0B5-217F-A44F-A0E5-891429A7D8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72965" y="3664776"/>
            <a:ext cx="2275603" cy="2412103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lang="de-DE" sz="1400" b="1" i="0" kern="1200" dirty="0">
                <a:solidFill>
                  <a:schemeClr val="tx2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11113" indent="-11113">
              <a:buNone/>
              <a:tabLst/>
              <a:defRPr sz="14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291D7A8-E264-0149-966B-7457947CA19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5135C184-546A-8044-B907-EF463502DFE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91ACACC0-8304-264C-B580-98A3E0C5E62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38802" y="1069274"/>
            <a:ext cx="10514398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  <p:sp>
        <p:nvSpPr>
          <p:cNvPr id="15" name="Titel 2">
            <a:extLst>
              <a:ext uri="{FF2B5EF4-FFF2-40B4-BE49-F238E27FC236}">
                <a16:creationId xmlns:a16="http://schemas.microsoft.com/office/drawing/2014/main" id="{528CC7CD-C0DE-E149-8324-294ACBCEDD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1" y="540000"/>
            <a:ext cx="10514397" cy="52422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cap="all" baseline="0"/>
            </a:lvl1pPr>
          </a:lstStyle>
          <a:p>
            <a:r>
              <a:rPr lang="de-DE" dirty="0"/>
              <a:t>PAGE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252266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Inhaltsplatzhalter 7">
            <a:extLst>
              <a:ext uri="{FF2B5EF4-FFF2-40B4-BE49-F238E27FC236}">
                <a16:creationId xmlns:a16="http://schemas.microsoft.com/office/drawing/2014/main" id="{226C0B46-7BEC-BF4C-A91B-FA92C9EE8F4D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9333038" y="2303181"/>
            <a:ext cx="914400" cy="914400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Icon</a:t>
            </a:r>
          </a:p>
        </p:txBody>
      </p:sp>
      <p:sp>
        <p:nvSpPr>
          <p:cNvPr id="27" name="Inhaltsplatzhalter 7">
            <a:extLst>
              <a:ext uri="{FF2B5EF4-FFF2-40B4-BE49-F238E27FC236}">
                <a16:creationId xmlns:a16="http://schemas.microsoft.com/office/drawing/2014/main" id="{C659ACE5-0DC2-B947-954B-77B4363293EF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7208165" y="2306222"/>
            <a:ext cx="914400" cy="914400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Icon</a:t>
            </a:r>
          </a:p>
        </p:txBody>
      </p:sp>
      <p:sp>
        <p:nvSpPr>
          <p:cNvPr id="26" name="Inhaltsplatzhalter 7">
            <a:extLst>
              <a:ext uri="{FF2B5EF4-FFF2-40B4-BE49-F238E27FC236}">
                <a16:creationId xmlns:a16="http://schemas.microsoft.com/office/drawing/2014/main" id="{8B563FEF-F9B5-3540-861C-357280CFF190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5083294" y="2303181"/>
            <a:ext cx="914400" cy="914400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Icon</a:t>
            </a:r>
          </a:p>
        </p:txBody>
      </p:sp>
      <p:sp>
        <p:nvSpPr>
          <p:cNvPr id="25" name="Inhaltsplatzhalter 7">
            <a:extLst>
              <a:ext uri="{FF2B5EF4-FFF2-40B4-BE49-F238E27FC236}">
                <a16:creationId xmlns:a16="http://schemas.microsoft.com/office/drawing/2014/main" id="{9F2F0A52-799D-974C-A7C8-24329A944A04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2958423" y="2306222"/>
            <a:ext cx="914400" cy="914400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Icon</a:t>
            </a:r>
          </a:p>
        </p:txBody>
      </p:sp>
      <p:sp>
        <p:nvSpPr>
          <p:cNvPr id="19" name="Inhaltsplatzhalter 7">
            <a:extLst>
              <a:ext uri="{FF2B5EF4-FFF2-40B4-BE49-F238E27FC236}">
                <a16:creationId xmlns:a16="http://schemas.microsoft.com/office/drawing/2014/main" id="{57539662-A4CD-9B4A-8778-9639BABE8A7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833552" y="2303181"/>
            <a:ext cx="914400" cy="914400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Icon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96F8BE64-EF32-B34C-B829-38D075777C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3465" y="3664776"/>
            <a:ext cx="2019899" cy="2412103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lang="de-DE" sz="1400" b="1" i="0" kern="1200" dirty="0">
                <a:solidFill>
                  <a:schemeClr val="tx2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11113" indent="-11113">
              <a:buNone/>
              <a:tabLst/>
              <a:defRPr sz="14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21" name="Textplatzhalter 19">
            <a:extLst>
              <a:ext uri="{FF2B5EF4-FFF2-40B4-BE49-F238E27FC236}">
                <a16:creationId xmlns:a16="http://schemas.microsoft.com/office/drawing/2014/main" id="{E67049CD-071E-1B48-81FD-C653283E94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58423" y="3664776"/>
            <a:ext cx="2019899" cy="2412103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lang="de-DE" sz="1400" b="1" i="0" kern="1200" dirty="0">
                <a:solidFill>
                  <a:schemeClr val="tx2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11113" indent="-11113">
              <a:buNone/>
              <a:tabLst/>
              <a:defRPr sz="14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22" name="Textplatzhalter 19">
            <a:extLst>
              <a:ext uri="{FF2B5EF4-FFF2-40B4-BE49-F238E27FC236}">
                <a16:creationId xmlns:a16="http://schemas.microsoft.com/office/drawing/2014/main" id="{4588405E-8B00-8543-8027-E69BFCAF14E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83381" y="3664776"/>
            <a:ext cx="2019899" cy="2412103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lang="de-DE" sz="1400" b="1" i="0" kern="1200" dirty="0">
                <a:solidFill>
                  <a:schemeClr val="tx2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11113" indent="-11113">
              <a:buNone/>
              <a:tabLst/>
              <a:defRPr sz="14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23" name="Textplatzhalter 19">
            <a:extLst>
              <a:ext uri="{FF2B5EF4-FFF2-40B4-BE49-F238E27FC236}">
                <a16:creationId xmlns:a16="http://schemas.microsoft.com/office/drawing/2014/main" id="{EC1351DC-62A1-DB4D-8FFA-F3A93E684C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08339" y="3664776"/>
            <a:ext cx="2019899" cy="2412103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lang="de-DE" sz="1400" b="1" i="0" kern="1200" dirty="0">
                <a:solidFill>
                  <a:schemeClr val="tx2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11113" indent="-11113">
              <a:buNone/>
              <a:tabLst/>
              <a:defRPr sz="14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0072B0B5-217F-A44F-A0E5-891429A7D8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333299" y="3664776"/>
            <a:ext cx="2019899" cy="2412103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lang="de-DE" sz="1400" b="1" i="0" kern="1200" dirty="0">
                <a:solidFill>
                  <a:schemeClr val="tx2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11113" indent="-11113">
              <a:buNone/>
              <a:tabLst/>
              <a:defRPr sz="14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11ED7A39-B687-F84A-83A0-B55F3653D6E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47237D32-76AE-4449-BC42-9795644939B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45CAB6EA-7DBA-2546-A561-A869D1A31A8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8802" y="1069274"/>
            <a:ext cx="10514398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  <p:sp>
        <p:nvSpPr>
          <p:cNvPr id="17" name="Titel 2">
            <a:extLst>
              <a:ext uri="{FF2B5EF4-FFF2-40B4-BE49-F238E27FC236}">
                <a16:creationId xmlns:a16="http://schemas.microsoft.com/office/drawing/2014/main" id="{D229AE10-4F0C-5549-90E0-0FF7ADD23C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1" y="540000"/>
            <a:ext cx="10514397" cy="52422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cap="all" baseline="0"/>
            </a:lvl1pPr>
          </a:lstStyle>
          <a:p>
            <a:r>
              <a:rPr lang="de-DE" dirty="0"/>
              <a:t>PAGE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761930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FFICE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3063552-19B1-EF42-BC56-9005FA48366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22" name="Titel 21">
            <a:extLst>
              <a:ext uri="{FF2B5EF4-FFF2-40B4-BE49-F238E27FC236}">
                <a16:creationId xmlns:a16="http://schemas.microsoft.com/office/drawing/2014/main" id="{E8158508-7A80-BF4A-BEF9-CC496EB4CB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1" y="540000"/>
            <a:ext cx="10514397" cy="524223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MEMBER FIRM LOCATIONS</a:t>
            </a:r>
            <a:endParaRPr lang="en-US" dirty="0"/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DFEF99D8-015B-114F-97C3-8721C4FC540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801" y="1337604"/>
            <a:ext cx="2562202" cy="101441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0" i="0" u="none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>
              <a:lnSpc>
                <a:spcPts val="800"/>
              </a:lnSpc>
              <a:buNone/>
              <a:tabLst/>
              <a:defRPr sz="10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113" indent="0">
              <a:lnSpc>
                <a:spcPts val="800"/>
              </a:lnSpc>
              <a:buNone/>
              <a:tabLst/>
              <a:defRPr sz="1000" b="0" i="0">
                <a:solidFill>
                  <a:schemeClr val="bg2"/>
                </a:solidFill>
                <a:latin typeface="Verdana" panose="020B0604030504040204" pitchFamily="34" charset="0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24433B7A-A789-2543-8A0C-69B369FB4E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89132" y="1337603"/>
            <a:ext cx="2562202" cy="101441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200" b="1" i="0" u="none" kern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en-US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de-DE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31" name="Textplatzhalter 3">
            <a:extLst>
              <a:ext uri="{FF2B5EF4-FFF2-40B4-BE49-F238E27FC236}">
                <a16:creationId xmlns:a16="http://schemas.microsoft.com/office/drawing/2014/main" id="{CB51EBAA-839E-D042-A954-C5A74AD8F6A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39463" y="1337603"/>
            <a:ext cx="2562202" cy="101441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200" b="1" i="0" u="none" kern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en-US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de-DE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35" name="Textplatzhalter 3">
            <a:extLst>
              <a:ext uri="{FF2B5EF4-FFF2-40B4-BE49-F238E27FC236}">
                <a16:creationId xmlns:a16="http://schemas.microsoft.com/office/drawing/2014/main" id="{BC4D8B8E-AE13-9F47-B552-688CD0825BF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795" y="1337604"/>
            <a:ext cx="2562202" cy="101441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200" b="1" i="0" u="none" kern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en-US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de-DE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36" name="Textplatzhalter 3">
            <a:extLst>
              <a:ext uri="{FF2B5EF4-FFF2-40B4-BE49-F238E27FC236}">
                <a16:creationId xmlns:a16="http://schemas.microsoft.com/office/drawing/2014/main" id="{445A5A26-CE03-664F-A4DF-D712DABF85E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8801" y="2514789"/>
            <a:ext cx="2562202" cy="101441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200" b="1" i="0" u="none" kern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en-US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de-DE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37" name="Textplatzhalter 3">
            <a:extLst>
              <a:ext uri="{FF2B5EF4-FFF2-40B4-BE49-F238E27FC236}">
                <a16:creationId xmlns:a16="http://schemas.microsoft.com/office/drawing/2014/main" id="{255E9AC1-D641-5A44-A4C1-A7D3DB24778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88331" y="2511522"/>
            <a:ext cx="2562202" cy="101441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200" b="1" i="0" u="none" kern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en-US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de-DE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71CC5EC7-68AC-0C48-8204-88C99B9319A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39063" y="2511522"/>
            <a:ext cx="2562202" cy="101441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200" b="1" i="0" u="none" kern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en-US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de-DE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40" name="Textplatzhalter 3">
            <a:extLst>
              <a:ext uri="{FF2B5EF4-FFF2-40B4-BE49-F238E27FC236}">
                <a16:creationId xmlns:a16="http://schemas.microsoft.com/office/drawing/2014/main" id="{4E9F9E9C-EF38-5F40-A397-DF5B6A7D82C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789795" y="2511522"/>
            <a:ext cx="2562202" cy="101441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200" b="1" i="0" u="none" kern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en-US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de-DE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41" name="Textplatzhalter 3">
            <a:extLst>
              <a:ext uri="{FF2B5EF4-FFF2-40B4-BE49-F238E27FC236}">
                <a16:creationId xmlns:a16="http://schemas.microsoft.com/office/drawing/2014/main" id="{4E6E1FBA-8E45-C44B-BA68-08A93AD1745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89132" y="3691974"/>
            <a:ext cx="2562202" cy="101441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200" b="1" i="0" u="none" kern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en-US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de-DE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42" name="Textplatzhalter 3">
            <a:extLst>
              <a:ext uri="{FF2B5EF4-FFF2-40B4-BE49-F238E27FC236}">
                <a16:creationId xmlns:a16="http://schemas.microsoft.com/office/drawing/2014/main" id="{B37911B9-8DAA-7B44-AAC7-CF5AE0B4178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39463" y="3691974"/>
            <a:ext cx="2562202" cy="101441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200" b="1" i="0" u="none" kern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en-US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de-DE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43" name="Textplatzhalter 3">
            <a:extLst>
              <a:ext uri="{FF2B5EF4-FFF2-40B4-BE49-F238E27FC236}">
                <a16:creationId xmlns:a16="http://schemas.microsoft.com/office/drawing/2014/main" id="{FE95E96B-EB01-2743-831D-C42FB7C1222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89795" y="3691974"/>
            <a:ext cx="2562202" cy="101441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200" b="1" i="0" u="none" kern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en-US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de-DE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44" name="Textplatzhalter 3">
            <a:extLst>
              <a:ext uri="{FF2B5EF4-FFF2-40B4-BE49-F238E27FC236}">
                <a16:creationId xmlns:a16="http://schemas.microsoft.com/office/drawing/2014/main" id="{4145EA9F-8668-D044-A541-2C8154825B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8801" y="3691974"/>
            <a:ext cx="2562202" cy="101441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200" b="1" i="0" u="none" kern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en-US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de-DE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45" name="Textplatzhalter 3">
            <a:extLst>
              <a:ext uri="{FF2B5EF4-FFF2-40B4-BE49-F238E27FC236}">
                <a16:creationId xmlns:a16="http://schemas.microsoft.com/office/drawing/2014/main" id="{989ED4A7-90DD-CB43-AC6C-4E8E4CE104C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488732" y="4869301"/>
            <a:ext cx="2562202" cy="101441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200" b="1" i="0" u="none" kern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en-US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de-DE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46" name="Textplatzhalter 3">
            <a:extLst>
              <a:ext uri="{FF2B5EF4-FFF2-40B4-BE49-F238E27FC236}">
                <a16:creationId xmlns:a16="http://schemas.microsoft.com/office/drawing/2014/main" id="{9E25B8B6-8062-F24E-9AFA-D1968627493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39063" y="4869301"/>
            <a:ext cx="2562202" cy="101441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200" b="1" i="0" u="none" kern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en-US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de-DE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47" name="Textplatzhalter 3">
            <a:extLst>
              <a:ext uri="{FF2B5EF4-FFF2-40B4-BE49-F238E27FC236}">
                <a16:creationId xmlns:a16="http://schemas.microsoft.com/office/drawing/2014/main" id="{850FCEA6-C659-144E-8EEC-55BE1B77369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789395" y="4869301"/>
            <a:ext cx="2562202" cy="101441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200" b="1" i="0" u="none" kern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en-US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de-DE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48" name="Textplatzhalter 3">
            <a:extLst>
              <a:ext uri="{FF2B5EF4-FFF2-40B4-BE49-F238E27FC236}">
                <a16:creationId xmlns:a16="http://schemas.microsoft.com/office/drawing/2014/main" id="{4FC42E85-C4F3-0E4B-A1EF-11C04A34F9D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38401" y="4869160"/>
            <a:ext cx="2562202" cy="101441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200" b="1" i="0" u="none" kern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en-US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de-DE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F0FE84DC-2E89-2A43-9D32-D6C81664F0C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34398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3_IMAGE">
    <p:bg>
      <p:bgPr>
        <a:blipFill dpi="0" rotWithShape="1">
          <a:blip r:embed="rId2">
            <a:lum/>
          </a:blip>
          <a:srcRect/>
          <a:stretch>
            <a:fillRect t="20000" b="-2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ihandform 10">
            <a:extLst>
              <a:ext uri="{FF2B5EF4-FFF2-40B4-BE49-F238E27FC236}">
                <a16:creationId xmlns:a16="http://schemas.microsoft.com/office/drawing/2014/main" id="{073E1661-90C9-A44A-B475-EB13EFC944CC}"/>
              </a:ext>
            </a:extLst>
          </p:cNvPr>
          <p:cNvSpPr/>
          <p:nvPr userDrawn="1"/>
        </p:nvSpPr>
        <p:spPr>
          <a:xfrm>
            <a:off x="0" y="0"/>
            <a:ext cx="9987280" cy="6858000"/>
          </a:xfrm>
          <a:custGeom>
            <a:avLst/>
            <a:gdLst>
              <a:gd name="connsiteX0" fmla="*/ 9987276 w 9987280"/>
              <a:gd name="connsiteY0" fmla="*/ 0 h 6858000"/>
              <a:gd name="connsiteX1" fmla="*/ 9987280 w 9987280"/>
              <a:gd name="connsiteY1" fmla="*/ 0 h 6858000"/>
              <a:gd name="connsiteX2" fmla="*/ 9987280 w 9987280"/>
              <a:gd name="connsiteY2" fmla="*/ 6858000 h 6858000"/>
              <a:gd name="connsiteX3" fmla="*/ 9987276 w 9987280"/>
              <a:gd name="connsiteY3" fmla="*/ 6858000 h 6858000"/>
              <a:gd name="connsiteX4" fmla="*/ 0 w 9987280"/>
              <a:gd name="connsiteY4" fmla="*/ 0 h 6858000"/>
              <a:gd name="connsiteX5" fmla="*/ 9987276 w 9987280"/>
              <a:gd name="connsiteY5" fmla="*/ 0 h 6858000"/>
              <a:gd name="connsiteX6" fmla="*/ 7056150 w 9987280"/>
              <a:gd name="connsiteY6" fmla="*/ 6858000 h 6858000"/>
              <a:gd name="connsiteX7" fmla="*/ 0 w 998728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87280" h="6858000">
                <a:moveTo>
                  <a:pt x="9987276" y="0"/>
                </a:moveTo>
                <a:lnTo>
                  <a:pt x="9987280" y="0"/>
                </a:lnTo>
                <a:lnTo>
                  <a:pt x="9987280" y="6858000"/>
                </a:lnTo>
                <a:lnTo>
                  <a:pt x="9987276" y="6858000"/>
                </a:lnTo>
                <a:close/>
                <a:moveTo>
                  <a:pt x="0" y="0"/>
                </a:moveTo>
                <a:lnTo>
                  <a:pt x="9987276" y="0"/>
                </a:lnTo>
                <a:lnTo>
                  <a:pt x="70561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3ADEE1CB-B0DB-B345-98F2-24F930C5069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74652" y="6154997"/>
            <a:ext cx="1784456" cy="294231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2D323905-EE9D-B144-A3CE-79B7C748DEC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  <p:sp>
        <p:nvSpPr>
          <p:cNvPr id="10" name="Titelplatzhalter 1">
            <a:extLst>
              <a:ext uri="{FF2B5EF4-FFF2-40B4-BE49-F238E27FC236}">
                <a16:creationId xmlns:a16="http://schemas.microsoft.com/office/drawing/2014/main" id="{C8213446-0680-B24A-AEFC-10F8E03F78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044868"/>
            <a:ext cx="6289849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>
              <a:defRPr sz="3400" b="1" i="0" cap="all" baseline="0">
                <a:solidFill>
                  <a:schemeClr val="tx2"/>
                </a:solidFill>
                <a:latin typeface="Verdana" panose="020B0604030504040204" pitchFamily="34" charset="0"/>
              </a:defRPr>
            </a:lvl1pPr>
          </a:lstStyle>
          <a:p>
            <a:r>
              <a:rPr lang="de-DE" dirty="0"/>
              <a:t>CHAPTER TITLE</a:t>
            </a:r>
            <a:endParaRPr lang="en-US" dirty="0"/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55D2197D-3174-5348-A833-37AB9B2463F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3417102"/>
            <a:ext cx="6289849" cy="10563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SUBTITLE LOREM IPSUM</a:t>
            </a:r>
          </a:p>
        </p:txBody>
      </p:sp>
    </p:spTree>
    <p:extLst>
      <p:ext uri="{BB962C8B-B14F-4D97-AF65-F5344CB8AC3E}">
        <p14:creationId xmlns:p14="http://schemas.microsoft.com/office/powerpoint/2010/main" val="239399150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FFICES_RE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3063552-19B1-EF42-BC56-9005FA48366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E7DECBE-2BCF-3647-8DEC-07624DCFA8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1" y="540000"/>
            <a:ext cx="10514397" cy="52422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MEMBER FIRM LOCATIONS</a:t>
            </a:r>
            <a:endParaRPr lang="en-US" dirty="0"/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CDBCCF44-349C-174D-9608-9C195ECD90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801" y="1337604"/>
            <a:ext cx="2562202" cy="101441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0" i="0" u="none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>
              <a:lnSpc>
                <a:spcPts val="800"/>
              </a:lnSpc>
              <a:buNone/>
              <a:tabLst/>
              <a:defRPr sz="1000" b="0" i="0">
                <a:solidFill>
                  <a:schemeClr val="bg1"/>
                </a:solidFill>
                <a:latin typeface="Verdana" panose="020B0604030504040204" pitchFamily="34" charset="0"/>
              </a:defRPr>
            </a:lvl2pPr>
            <a:lvl3pPr marL="11113" indent="0">
              <a:lnSpc>
                <a:spcPts val="800"/>
              </a:lnSpc>
              <a:buNone/>
              <a:tabLst/>
              <a:defRPr sz="1000" b="0" i="0">
                <a:solidFill>
                  <a:schemeClr val="bg1"/>
                </a:solidFill>
                <a:latin typeface="Verdana" panose="020B0604030504040204" pitchFamily="34" charset="0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23" name="Textplatzhalter 3">
            <a:extLst>
              <a:ext uri="{FF2B5EF4-FFF2-40B4-BE49-F238E27FC236}">
                <a16:creationId xmlns:a16="http://schemas.microsoft.com/office/drawing/2014/main" id="{D33821F3-12CE-B44D-AECF-E5538F798BA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89132" y="1337603"/>
            <a:ext cx="2562202" cy="101441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0" i="0" u="none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>
              <a:lnSpc>
                <a:spcPts val="800"/>
              </a:lnSpc>
              <a:buNone/>
              <a:tabLst/>
              <a:defRPr sz="1000" b="0" i="0">
                <a:solidFill>
                  <a:schemeClr val="bg1"/>
                </a:solidFill>
                <a:latin typeface="Verdana" panose="020B0604030504040204" pitchFamily="34" charset="0"/>
              </a:defRPr>
            </a:lvl2pPr>
            <a:lvl3pPr marL="11113" indent="0">
              <a:lnSpc>
                <a:spcPts val="800"/>
              </a:lnSpc>
              <a:buNone/>
              <a:tabLst/>
              <a:defRPr sz="1000" b="0" i="0">
                <a:solidFill>
                  <a:schemeClr val="bg1"/>
                </a:solidFill>
                <a:latin typeface="Verdana" panose="020B0604030504040204" pitchFamily="34" charset="0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25" name="Textplatzhalter 3">
            <a:extLst>
              <a:ext uri="{FF2B5EF4-FFF2-40B4-BE49-F238E27FC236}">
                <a16:creationId xmlns:a16="http://schemas.microsoft.com/office/drawing/2014/main" id="{4555F14D-4325-F443-A619-AD941EA6740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39463" y="1337603"/>
            <a:ext cx="2562202" cy="101441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0" i="0" u="none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>
              <a:lnSpc>
                <a:spcPts val="800"/>
              </a:lnSpc>
              <a:buNone/>
              <a:tabLst/>
              <a:defRPr sz="1000" b="0" i="0">
                <a:solidFill>
                  <a:schemeClr val="bg1"/>
                </a:solidFill>
                <a:latin typeface="Verdana" panose="020B0604030504040204" pitchFamily="34" charset="0"/>
              </a:defRPr>
            </a:lvl2pPr>
            <a:lvl3pPr marL="11113" indent="0">
              <a:lnSpc>
                <a:spcPts val="800"/>
              </a:lnSpc>
              <a:buNone/>
              <a:tabLst/>
              <a:defRPr sz="1000" b="0" i="0">
                <a:solidFill>
                  <a:schemeClr val="bg1"/>
                </a:solidFill>
                <a:latin typeface="Verdana" panose="020B0604030504040204" pitchFamily="34" charset="0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26" name="Textplatzhalter 3">
            <a:extLst>
              <a:ext uri="{FF2B5EF4-FFF2-40B4-BE49-F238E27FC236}">
                <a16:creationId xmlns:a16="http://schemas.microsoft.com/office/drawing/2014/main" id="{87C7276D-6EC5-1A4F-B724-5FD2B8D144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795" y="1337604"/>
            <a:ext cx="2562202" cy="10144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800"/>
              </a:lnSpc>
              <a:buNone/>
              <a:defRPr lang="en-US" sz="1200" b="1" i="0" u="none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en-US" sz="1000" b="0" i="0" kern="1200" dirty="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de-DE" sz="1000" b="0" i="0" kern="1200" dirty="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67190F7B-EE64-DE45-AFEF-E57E9EB50FF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8801" y="2514789"/>
            <a:ext cx="2562202" cy="10144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800"/>
              </a:lnSpc>
              <a:buNone/>
              <a:defRPr lang="en-US" sz="1200" b="1" i="0" u="none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en-US" sz="1000" b="0" i="0" kern="1200" dirty="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de-DE" sz="1000" b="0" i="0" kern="1200" dirty="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28" name="Textplatzhalter 3">
            <a:extLst>
              <a:ext uri="{FF2B5EF4-FFF2-40B4-BE49-F238E27FC236}">
                <a16:creationId xmlns:a16="http://schemas.microsoft.com/office/drawing/2014/main" id="{BFF5524A-F5A0-044B-B5A5-18AC1EF251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88331" y="2511522"/>
            <a:ext cx="2562202" cy="10144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800"/>
              </a:lnSpc>
              <a:buNone/>
              <a:defRPr lang="en-US" sz="1200" b="1" i="0" u="none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en-US" sz="1000" b="0" i="0" kern="1200" dirty="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de-DE" sz="1000" b="0" i="0" kern="1200" dirty="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29" name="Textplatzhalter 3">
            <a:extLst>
              <a:ext uri="{FF2B5EF4-FFF2-40B4-BE49-F238E27FC236}">
                <a16:creationId xmlns:a16="http://schemas.microsoft.com/office/drawing/2014/main" id="{47B6BBDE-BBB8-9C45-8A9C-FAF67856C84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39063" y="2511522"/>
            <a:ext cx="2562202" cy="10144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800"/>
              </a:lnSpc>
              <a:buNone/>
              <a:defRPr lang="en-US" sz="1200" b="1" i="0" u="none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en-US" sz="1000" b="0" i="0" kern="1200" dirty="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de-DE" sz="1000" b="0" i="0" kern="1200" dirty="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A3B61802-9BC2-F744-9FDB-433578193A5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789795" y="2511522"/>
            <a:ext cx="2562202" cy="10144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800"/>
              </a:lnSpc>
              <a:buNone/>
              <a:defRPr lang="en-US" sz="1200" b="1" i="0" u="none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en-US" sz="1000" b="0" i="0" kern="1200" dirty="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de-DE" sz="1000" b="0" i="0" kern="1200" dirty="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32" name="Textplatzhalter 3">
            <a:extLst>
              <a:ext uri="{FF2B5EF4-FFF2-40B4-BE49-F238E27FC236}">
                <a16:creationId xmlns:a16="http://schemas.microsoft.com/office/drawing/2014/main" id="{4FEAAEA8-9D30-AC41-BC72-447627D44CC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89132" y="3691974"/>
            <a:ext cx="2562202" cy="10144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800"/>
              </a:lnSpc>
              <a:buNone/>
              <a:defRPr lang="en-US" sz="1200" b="1" i="0" u="none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en-US" sz="1000" b="0" i="0" kern="1200" dirty="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de-DE" sz="1000" b="0" i="0" kern="1200" dirty="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33" name="Textplatzhalter 3">
            <a:extLst>
              <a:ext uri="{FF2B5EF4-FFF2-40B4-BE49-F238E27FC236}">
                <a16:creationId xmlns:a16="http://schemas.microsoft.com/office/drawing/2014/main" id="{EEB1E081-A077-204D-ADF8-BB5F828A242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39463" y="3691974"/>
            <a:ext cx="2562202" cy="10144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800"/>
              </a:lnSpc>
              <a:buNone/>
              <a:defRPr lang="en-US" sz="1200" b="1" i="0" u="none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en-US" sz="1000" b="0" i="0" kern="1200" dirty="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de-DE" sz="1000" b="0" i="0" kern="1200" dirty="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34" name="Textplatzhalter 3">
            <a:extLst>
              <a:ext uri="{FF2B5EF4-FFF2-40B4-BE49-F238E27FC236}">
                <a16:creationId xmlns:a16="http://schemas.microsoft.com/office/drawing/2014/main" id="{8EF44F7E-33F0-2643-AC61-BDA5A27F82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89795" y="3691974"/>
            <a:ext cx="2562202" cy="10144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800"/>
              </a:lnSpc>
              <a:buNone/>
              <a:defRPr lang="en-US" sz="1200" b="1" i="0" u="none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en-US" sz="1000" b="0" i="0" kern="1200" dirty="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de-DE" sz="1000" b="0" i="0" kern="1200" dirty="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cxnSp>
        <p:nvCxnSpPr>
          <p:cNvPr id="36" name="Gerade Verbindung 35">
            <a:extLst>
              <a:ext uri="{FF2B5EF4-FFF2-40B4-BE49-F238E27FC236}">
                <a16:creationId xmlns:a16="http://schemas.microsoft.com/office/drawing/2014/main" id="{CE3FD57E-C5B2-E746-A8EB-E015134CE601}"/>
              </a:ext>
            </a:extLst>
          </p:cNvPr>
          <p:cNvCxnSpPr>
            <a:cxnSpLocks/>
          </p:cNvCxnSpPr>
          <p:nvPr userDrawn="1"/>
        </p:nvCxnSpPr>
        <p:spPr>
          <a:xfrm>
            <a:off x="13933228" y="245273"/>
            <a:ext cx="0" cy="656818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37">
            <a:extLst>
              <a:ext uri="{FF2B5EF4-FFF2-40B4-BE49-F238E27FC236}">
                <a16:creationId xmlns:a16="http://schemas.microsoft.com/office/drawing/2014/main" id="{3F43B87C-D6B1-1F46-B70F-AFAE76EE68B6}"/>
              </a:ext>
            </a:extLst>
          </p:cNvPr>
          <p:cNvCxnSpPr>
            <a:cxnSpLocks/>
          </p:cNvCxnSpPr>
          <p:nvPr userDrawn="1"/>
        </p:nvCxnSpPr>
        <p:spPr>
          <a:xfrm>
            <a:off x="16584149" y="278829"/>
            <a:ext cx="0" cy="656818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39">
            <a:extLst>
              <a:ext uri="{FF2B5EF4-FFF2-40B4-BE49-F238E27FC236}">
                <a16:creationId xmlns:a16="http://schemas.microsoft.com/office/drawing/2014/main" id="{A8ED9218-FFA3-5C4C-ADE7-A5FEE62E01D3}"/>
              </a:ext>
            </a:extLst>
          </p:cNvPr>
          <p:cNvCxnSpPr>
            <a:cxnSpLocks/>
          </p:cNvCxnSpPr>
          <p:nvPr userDrawn="1"/>
        </p:nvCxnSpPr>
        <p:spPr>
          <a:xfrm>
            <a:off x="19235070" y="102660"/>
            <a:ext cx="0" cy="656818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platzhalter 3">
            <a:extLst>
              <a:ext uri="{FF2B5EF4-FFF2-40B4-BE49-F238E27FC236}">
                <a16:creationId xmlns:a16="http://schemas.microsoft.com/office/drawing/2014/main" id="{4FA7DE0E-E033-BB4A-845D-C88FB5D02DF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8801" y="3691974"/>
            <a:ext cx="2562202" cy="10144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800"/>
              </a:lnSpc>
              <a:buNone/>
              <a:defRPr lang="en-US" sz="1200" b="1" i="0" u="none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en-US" sz="1000" b="0" i="0" kern="1200" dirty="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de-DE" sz="1000" b="0" i="0" kern="1200" dirty="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24" name="Textplatzhalter 3">
            <a:extLst>
              <a:ext uri="{FF2B5EF4-FFF2-40B4-BE49-F238E27FC236}">
                <a16:creationId xmlns:a16="http://schemas.microsoft.com/office/drawing/2014/main" id="{CBB056B0-1F81-EE4F-B6D0-2B263DD4E24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488732" y="4869301"/>
            <a:ext cx="2562202" cy="10144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800"/>
              </a:lnSpc>
              <a:buNone/>
              <a:defRPr lang="en-US" sz="1200" b="1" i="0" u="none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en-US" sz="1000" b="0" i="0" kern="1200" dirty="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de-DE" sz="1000" b="0" i="0" kern="1200" dirty="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31" name="Textplatzhalter 3">
            <a:extLst>
              <a:ext uri="{FF2B5EF4-FFF2-40B4-BE49-F238E27FC236}">
                <a16:creationId xmlns:a16="http://schemas.microsoft.com/office/drawing/2014/main" id="{14FD935D-3B64-0E47-B613-DED3617BF15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39063" y="4869301"/>
            <a:ext cx="2562202" cy="10144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800"/>
              </a:lnSpc>
              <a:buNone/>
              <a:defRPr lang="en-US" sz="1200" b="1" i="0" u="none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en-US" sz="1000" b="0" i="0" kern="1200" dirty="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de-DE" sz="1000" b="0" i="0" kern="1200" dirty="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35" name="Textplatzhalter 3">
            <a:extLst>
              <a:ext uri="{FF2B5EF4-FFF2-40B4-BE49-F238E27FC236}">
                <a16:creationId xmlns:a16="http://schemas.microsoft.com/office/drawing/2014/main" id="{DC629283-B7DF-5141-911C-CAA3CE11AFC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789395" y="4869301"/>
            <a:ext cx="2562202" cy="10144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800"/>
              </a:lnSpc>
              <a:buNone/>
              <a:defRPr lang="en-US" sz="1200" b="1" i="0" u="none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en-US" sz="1000" b="0" i="0" kern="1200" dirty="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de-DE" sz="1000" b="0" i="0" kern="1200" dirty="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37" name="Textplatzhalter 3">
            <a:extLst>
              <a:ext uri="{FF2B5EF4-FFF2-40B4-BE49-F238E27FC236}">
                <a16:creationId xmlns:a16="http://schemas.microsoft.com/office/drawing/2014/main" id="{27F663BF-2DDC-8346-A973-ABFF4CF6CD9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38401" y="4869160"/>
            <a:ext cx="2562202" cy="10144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800"/>
              </a:lnSpc>
              <a:buNone/>
              <a:defRPr lang="en-US" sz="1200" b="1" i="0" u="none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en-US" sz="1000" b="0" i="0" kern="1200" dirty="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de-DE" sz="1000" b="0" i="0" kern="1200" dirty="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pic>
        <p:nvPicPr>
          <p:cNvPr id="41" name="Grafik 40">
            <a:extLst>
              <a:ext uri="{FF2B5EF4-FFF2-40B4-BE49-F238E27FC236}">
                <a16:creationId xmlns:a16="http://schemas.microsoft.com/office/drawing/2014/main" id="{2D1C3D01-A369-C14E-93F6-26E2A46926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4" y="6376778"/>
            <a:ext cx="1660525" cy="336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633877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LL_ADVANT_OFFICE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3063552-19B1-EF42-BC56-9005FA48366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149C93-043E-1946-99C3-1562491FBCE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614A62A7-69E7-CD4D-81DD-1DF53DFA31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9999" y="6477737"/>
            <a:ext cx="3162101" cy="147173"/>
          </a:xfrm>
          <a:prstGeom prst="rect">
            <a:avLst/>
          </a:prstGeom>
        </p:spPr>
      </p:pic>
      <p:sp>
        <p:nvSpPr>
          <p:cNvPr id="23" name="Textfeld 22">
            <a:extLst>
              <a:ext uri="{FF2B5EF4-FFF2-40B4-BE49-F238E27FC236}">
                <a16:creationId xmlns:a16="http://schemas.microsoft.com/office/drawing/2014/main" id="{FA6800BC-4D86-1543-BFFE-4761EA558541}"/>
              </a:ext>
            </a:extLst>
          </p:cNvPr>
          <p:cNvSpPr txBox="1"/>
          <p:nvPr userDrawn="1"/>
        </p:nvSpPr>
        <p:spPr>
          <a:xfrm>
            <a:off x="8663286" y="2545395"/>
            <a:ext cx="2562203" cy="12782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AC1938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HANGHAI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oom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4102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ong Kong New World Tower 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o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300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iddle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uaihai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Road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00032 Shanghai Shi, China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hanghai@advant-nctm.com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+86 21 60906337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DD261CE4-58ED-804E-969D-0A8D62ABAD70}"/>
              </a:ext>
            </a:extLst>
          </p:cNvPr>
          <p:cNvSpPr txBox="1"/>
          <p:nvPr userDrawn="1"/>
        </p:nvSpPr>
        <p:spPr>
          <a:xfrm>
            <a:off x="8649736" y="1332404"/>
            <a:ext cx="2562203" cy="9448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AC1938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OME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Via delle Quattro Fontane 161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00187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ome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taly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ome@advant-nctm.com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+39 06 6784977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A6F5C62A-ADFF-644C-BD6F-1E20C9249681}"/>
              </a:ext>
            </a:extLst>
          </p:cNvPr>
          <p:cNvSpPr txBox="1"/>
          <p:nvPr userDrawn="1"/>
        </p:nvSpPr>
        <p:spPr>
          <a:xfrm>
            <a:off x="6101083" y="4895802"/>
            <a:ext cx="2562203" cy="9680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AC1938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ARIS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45 Rue de Tocqueville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75017 Paris, France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aris@advant-altana.com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+33 (0)1 79 97 93 00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0A39FA7F-0A2C-BF48-BBFC-99DB96130AFC}"/>
              </a:ext>
            </a:extLst>
          </p:cNvPr>
          <p:cNvSpPr txBox="1"/>
          <p:nvPr userDrawn="1"/>
        </p:nvSpPr>
        <p:spPr>
          <a:xfrm>
            <a:off x="6087533" y="3718601"/>
            <a:ext cx="2562203" cy="9448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AC1938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UNICH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Ganghoferstrass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33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80339 Munich, Germany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unich@advant-beiten.com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+49 89 35065-0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1175B23E-0F9D-1F41-BF34-7A6C28BF9CB0}"/>
              </a:ext>
            </a:extLst>
          </p:cNvPr>
          <p:cNvSpPr txBox="1"/>
          <p:nvPr userDrawn="1"/>
        </p:nvSpPr>
        <p:spPr>
          <a:xfrm>
            <a:off x="6095999" y="2556234"/>
            <a:ext cx="2562203" cy="9448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AC1938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OSCOW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urchaninov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Per. 6/2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19034 Moscow, Russia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oscow@advant-beiten.com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+7 495 2329635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FC621431-477A-724C-A79D-EC24A13E6C82}"/>
              </a:ext>
            </a:extLst>
          </p:cNvPr>
          <p:cNvSpPr txBox="1"/>
          <p:nvPr userDrawn="1"/>
        </p:nvSpPr>
        <p:spPr>
          <a:xfrm>
            <a:off x="6096000" y="1332405"/>
            <a:ext cx="2562203" cy="9448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AC1938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ILAN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Via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gnello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12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0121 Milan, Italy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ilan@advant-nctm.com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+39 02 725 511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324AC1C0-86E2-8B40-8537-62C48F4C40DA}"/>
              </a:ext>
            </a:extLst>
          </p:cNvPr>
          <p:cNvSpPr txBox="1"/>
          <p:nvPr userDrawn="1"/>
        </p:nvSpPr>
        <p:spPr>
          <a:xfrm>
            <a:off x="3385673" y="4891588"/>
            <a:ext cx="2562203" cy="9447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AC1938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NDON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40 Bruton Street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ndon, W1J6QZ, United Kingdom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ndon@advant-nctm.com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: +44 20 73759900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556BB6FB-9A8C-1B4D-9C56-0A5CEBE27245}"/>
              </a:ext>
            </a:extLst>
          </p:cNvPr>
          <p:cNvSpPr txBox="1"/>
          <p:nvPr userDrawn="1"/>
        </p:nvSpPr>
        <p:spPr>
          <a:xfrm>
            <a:off x="3385674" y="3718601"/>
            <a:ext cx="2562203" cy="9448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AC1938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AMBURG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eue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Wall 72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0354 Hamburg, Germany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amburg@advant-beiten.com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+49 40 688745-0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D0D45161-2090-B54A-BC32-41E3C5A48B8D}"/>
              </a:ext>
            </a:extLst>
          </p:cNvPr>
          <p:cNvSpPr txBox="1"/>
          <p:nvPr userDrawn="1"/>
        </p:nvSpPr>
        <p:spPr>
          <a:xfrm>
            <a:off x="3390757" y="2545614"/>
            <a:ext cx="2562203" cy="9448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AC1938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KFURT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inze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andstrass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36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60325 Frankfurt, Germany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kfurt@advant-beiten.com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+49 69 756095-0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FB8854E7-A35D-9C44-A4BF-5F88A0E7CAE7}"/>
              </a:ext>
            </a:extLst>
          </p:cNvPr>
          <p:cNvSpPr txBox="1"/>
          <p:nvPr userDrawn="1"/>
        </p:nvSpPr>
        <p:spPr>
          <a:xfrm>
            <a:off x="3390758" y="1332406"/>
            <a:ext cx="2562203" cy="9448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AC1938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USSELDORF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ecilienalle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7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40474 Dusseldorf, Germany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usseldorf@advant-beiten.com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+49 211 518989-0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2E4665BD-3EF2-5E48-AC1F-95054CEA027D}"/>
              </a:ext>
            </a:extLst>
          </p:cNvPr>
          <p:cNvSpPr txBox="1"/>
          <p:nvPr userDrawn="1"/>
        </p:nvSpPr>
        <p:spPr>
          <a:xfrm>
            <a:off x="828555" y="4090204"/>
            <a:ext cx="2562203" cy="17783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AC1938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RUSSELS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venue de la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Joyeuse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ntrée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1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000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russels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elgium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russels@advant-nctm.com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+32 2 285 4685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venue Louise 489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050 Brussels, Belgium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russels@advant-beiten.com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+32 2 6390000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6D34CA0F-55A4-6345-B76C-ED5DADCC9DA9}"/>
              </a:ext>
            </a:extLst>
          </p:cNvPr>
          <p:cNvSpPr txBox="1"/>
          <p:nvPr userDrawn="1"/>
        </p:nvSpPr>
        <p:spPr>
          <a:xfrm>
            <a:off x="828556" y="2956595"/>
            <a:ext cx="2562203" cy="9448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AC1938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ERLIN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ützowplatz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10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0785 Berlin, Germany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erlin@advant-beiten.com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+49 30 26471-0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C194E172-5E7D-7245-91FD-35955DF6F5C4}"/>
              </a:ext>
            </a:extLst>
          </p:cNvPr>
          <p:cNvSpPr txBox="1"/>
          <p:nvPr userDrawn="1"/>
        </p:nvSpPr>
        <p:spPr>
          <a:xfrm>
            <a:off x="828557" y="1332406"/>
            <a:ext cx="2562203" cy="14449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AC1938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EIJING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uite 3130, 31st Floor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th Office Tower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eijing Kerry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entre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o Yang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strict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00020 Beijing, China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eijing@advant-beiten.com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+86 10 85298110</a:t>
            </a:r>
          </a:p>
        </p:txBody>
      </p:sp>
      <p:sp>
        <p:nvSpPr>
          <p:cNvPr id="18" name="CasellaDiTesto 17">
            <a:extLst>
              <a:ext uri="{FF2B5EF4-FFF2-40B4-BE49-F238E27FC236}">
                <a16:creationId xmlns:a16="http://schemas.microsoft.com/office/drawing/2014/main" id="{9D03D7B1-A398-2A4F-A88C-E510832BD35B}"/>
              </a:ext>
            </a:extLst>
          </p:cNvPr>
          <p:cNvSpPr txBox="1"/>
          <p:nvPr userDrawn="1"/>
        </p:nvSpPr>
        <p:spPr>
          <a:xfrm>
            <a:off x="838800" y="540000"/>
            <a:ext cx="10515600" cy="522000"/>
          </a:xfrm>
          <a:prstGeom prst="rect">
            <a:avLst/>
          </a:prstGeom>
        </p:spPr>
        <p:txBody>
          <a:bodyPr vert="horz" lIns="90000" tIns="45720" rIns="91440" bIns="45720" rtlCol="0" anchor="t">
            <a:no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400" b="1" i="0" cap="all" baseline="0">
                <a:solidFill>
                  <a:schemeClr val="tx2"/>
                </a:solidFill>
                <a:latin typeface="Verdana" panose="020B0604030504040204" pitchFamily="34" charset="0"/>
                <a:ea typeface="+mj-ea"/>
                <a:cs typeface="Verdana" panose="020B0604030504040204" pitchFamily="34" charset="0"/>
              </a:defRPr>
            </a:lvl1pPr>
          </a:lstStyle>
          <a:p>
            <a:pPr lvl="0"/>
            <a:r>
              <a:rPr lang="en-GB" noProof="0" dirty="0"/>
              <a:t>ADVANT MEMBER FIRMs offices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12409728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LL_ADVANT_OFFICES_RE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3063552-19B1-EF42-BC56-9005FA48366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149C93-043E-1946-99C3-1562491FBCE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41" name="Grafik 40">
            <a:extLst>
              <a:ext uri="{FF2B5EF4-FFF2-40B4-BE49-F238E27FC236}">
                <a16:creationId xmlns:a16="http://schemas.microsoft.com/office/drawing/2014/main" id="{3C172C99-6677-DD49-B077-5A08E1B0F2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9995" y="6477737"/>
            <a:ext cx="3162102" cy="147173"/>
          </a:xfrm>
          <a:prstGeom prst="rect">
            <a:avLst/>
          </a:prstGeom>
        </p:spPr>
      </p:pic>
      <p:sp>
        <p:nvSpPr>
          <p:cNvPr id="39" name="Textfeld 38">
            <a:extLst>
              <a:ext uri="{FF2B5EF4-FFF2-40B4-BE49-F238E27FC236}">
                <a16:creationId xmlns:a16="http://schemas.microsoft.com/office/drawing/2014/main" id="{DE4FC0EA-0075-714E-B814-81C9092759A1}"/>
              </a:ext>
            </a:extLst>
          </p:cNvPr>
          <p:cNvSpPr txBox="1"/>
          <p:nvPr userDrawn="1"/>
        </p:nvSpPr>
        <p:spPr>
          <a:xfrm>
            <a:off x="8828127" y="2499177"/>
            <a:ext cx="2562203" cy="12782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HANGHAI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oom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4102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ong Kong New World Tower 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o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300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iddle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uaihai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Road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00032 Shanghai Shi, China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hanghai@advant-nctm.com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+86 21 60906337</a:t>
            </a: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65EC248D-F5BE-4940-8B93-840D0270F93D}"/>
              </a:ext>
            </a:extLst>
          </p:cNvPr>
          <p:cNvSpPr txBox="1"/>
          <p:nvPr userDrawn="1"/>
        </p:nvSpPr>
        <p:spPr>
          <a:xfrm>
            <a:off x="8828127" y="1326189"/>
            <a:ext cx="2562203" cy="9448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OME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Via delle Quattro Fontane 161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00187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ome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taly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ome@advant-nctm.com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+39 06 6784977</a:t>
            </a: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0995E281-CFE2-6443-8BC3-2EBE496F6C87}"/>
              </a:ext>
            </a:extLst>
          </p:cNvPr>
          <p:cNvSpPr txBox="1"/>
          <p:nvPr userDrawn="1"/>
        </p:nvSpPr>
        <p:spPr>
          <a:xfrm>
            <a:off x="6154792" y="4871536"/>
            <a:ext cx="2562203" cy="9680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ARIS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45 Rue de Tocqueville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75017 Paris, France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aris@advant-altana.com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+33 (0)1 79 97 93 00</a:t>
            </a: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8854B37A-E798-0941-A7D9-B33E51191DA0}"/>
              </a:ext>
            </a:extLst>
          </p:cNvPr>
          <p:cNvSpPr txBox="1"/>
          <p:nvPr userDrawn="1"/>
        </p:nvSpPr>
        <p:spPr>
          <a:xfrm>
            <a:off x="6152530" y="3680816"/>
            <a:ext cx="2562203" cy="9448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UNICH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Ganghoferstrass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33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80339 Munich, Germany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unich@advant-beiten.com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+49 89 35065-0</a:t>
            </a: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A33C42FE-09C4-2742-8C26-CF7AAA10F7A7}"/>
              </a:ext>
            </a:extLst>
          </p:cNvPr>
          <p:cNvSpPr txBox="1"/>
          <p:nvPr userDrawn="1"/>
        </p:nvSpPr>
        <p:spPr>
          <a:xfrm>
            <a:off x="6152866" y="2507829"/>
            <a:ext cx="2562203" cy="9448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OSCOW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urchaninov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Per. 6/2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19034 Moscow, Russia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oscow@advant-beiten.com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+7 495 2329635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21E920D8-98AA-504B-BE4D-5DB8BD7D00E6}"/>
              </a:ext>
            </a:extLst>
          </p:cNvPr>
          <p:cNvSpPr txBox="1"/>
          <p:nvPr userDrawn="1"/>
        </p:nvSpPr>
        <p:spPr>
          <a:xfrm>
            <a:off x="6147783" y="1334842"/>
            <a:ext cx="2562203" cy="9448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ILAN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Via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gnello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12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0121 Milan, Italy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ilan@advant-nctm.com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+39 02 725 511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B78D0F49-65ED-A148-8711-DDB3E7E29E07}"/>
              </a:ext>
            </a:extLst>
          </p:cNvPr>
          <p:cNvSpPr txBox="1"/>
          <p:nvPr userDrawn="1"/>
        </p:nvSpPr>
        <p:spPr>
          <a:xfrm>
            <a:off x="3475007" y="4869641"/>
            <a:ext cx="2562203" cy="9447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NDON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40 Bruton Street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ndon, W1J6QZ, United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Kingdom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ndon@advant-nctm.com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: +44 20 73759900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F1ADEBD6-5BF0-0341-97ED-61330217A67A}"/>
              </a:ext>
            </a:extLst>
          </p:cNvPr>
          <p:cNvSpPr txBox="1"/>
          <p:nvPr userDrawn="1"/>
        </p:nvSpPr>
        <p:spPr>
          <a:xfrm>
            <a:off x="3476933" y="3678380"/>
            <a:ext cx="2562203" cy="9448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AMBURG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eue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Wall 72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0354 Hamburg, Germany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amburg@advant-beiten.com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+49 40 688745-0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8A26E107-82D1-6B46-AEC5-B5370CC1DF86}"/>
              </a:ext>
            </a:extLst>
          </p:cNvPr>
          <p:cNvSpPr txBox="1"/>
          <p:nvPr userDrawn="1"/>
        </p:nvSpPr>
        <p:spPr>
          <a:xfrm>
            <a:off x="3482016" y="2505393"/>
            <a:ext cx="2562203" cy="9448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KFURT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inze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andstrass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36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60325 Frankfurt, Germany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kfurt@advant-beiten.com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+49 69 756095-0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DD68B8E4-BCAE-9E42-A05A-67128E40D27B}"/>
              </a:ext>
            </a:extLst>
          </p:cNvPr>
          <p:cNvSpPr txBox="1"/>
          <p:nvPr userDrawn="1"/>
        </p:nvSpPr>
        <p:spPr>
          <a:xfrm>
            <a:off x="3476934" y="1332406"/>
            <a:ext cx="2562203" cy="9448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USSELDORF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ecilienalle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7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40474 Dusseldorf, Germany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usseldorf@advant-beiten.com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+49 211 518989-0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E8F2068B-DB05-D248-A63E-8E3D84A82BEE}"/>
              </a:ext>
            </a:extLst>
          </p:cNvPr>
          <p:cNvSpPr txBox="1"/>
          <p:nvPr userDrawn="1"/>
        </p:nvSpPr>
        <p:spPr>
          <a:xfrm>
            <a:off x="828557" y="1332406"/>
            <a:ext cx="2562203" cy="14449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EIJING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uite 3130, 31st Floor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th Office Tower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eijing Kerry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entre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o Yang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strict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00020 Beijing, China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eijing@advant-beiten.com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+86 10 85298110</a:t>
            </a: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B31AC099-A5A0-4645-93AD-D33F3D0E2A7C}"/>
              </a:ext>
            </a:extLst>
          </p:cNvPr>
          <p:cNvSpPr txBox="1"/>
          <p:nvPr userDrawn="1"/>
        </p:nvSpPr>
        <p:spPr>
          <a:xfrm>
            <a:off x="828558" y="4071631"/>
            <a:ext cx="2562203" cy="17783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RUSSELS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venue de la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Joyeuse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ntrée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1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000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russels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elgium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russels@advant-nctm.com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+32 2 285 4685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venue Louise 489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050 Brussels, Belgium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russels@advant-beiten.com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+32 2 6390000</a:t>
            </a:r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9119F44E-AF61-4B46-AB78-F372DD507681}"/>
              </a:ext>
            </a:extLst>
          </p:cNvPr>
          <p:cNvSpPr txBox="1"/>
          <p:nvPr userDrawn="1"/>
        </p:nvSpPr>
        <p:spPr>
          <a:xfrm>
            <a:off x="828556" y="2936274"/>
            <a:ext cx="2562203" cy="9448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ERLIN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ützowplatz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10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0785 Berlin, Germany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erlin@advant-beiten.com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+49 30 26471-0</a:t>
            </a:r>
          </a:p>
        </p:txBody>
      </p:sp>
      <p:sp>
        <p:nvSpPr>
          <p:cNvPr id="18" name="CasellaDiTesto 17">
            <a:extLst>
              <a:ext uri="{FF2B5EF4-FFF2-40B4-BE49-F238E27FC236}">
                <a16:creationId xmlns:a16="http://schemas.microsoft.com/office/drawing/2014/main" id="{3DEA5B78-D59C-C04A-AB8A-1BA2C5C6FB7F}"/>
              </a:ext>
            </a:extLst>
          </p:cNvPr>
          <p:cNvSpPr txBox="1"/>
          <p:nvPr userDrawn="1"/>
        </p:nvSpPr>
        <p:spPr>
          <a:xfrm>
            <a:off x="838800" y="540000"/>
            <a:ext cx="10515600" cy="522000"/>
          </a:xfrm>
          <a:prstGeom prst="rect">
            <a:avLst/>
          </a:prstGeom>
          <a:noFill/>
        </p:spPr>
        <p:txBody>
          <a:bodyPr wrap="square" lIns="90000" rtlCol="0">
            <a:noAutofit/>
          </a:bodyPr>
          <a:lstStyle/>
          <a:p>
            <a:pPr>
              <a:lnSpc>
                <a:spcPct val="90000"/>
              </a:lnSpc>
            </a:pPr>
            <a:r>
              <a:rPr kumimoji="0" lang="en-GB" sz="2400" b="1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+mj-ea"/>
                <a:cs typeface="Verdana" panose="020B0604030504040204" pitchFamily="34" charset="0"/>
              </a:rPr>
              <a:t>ADVANT MEMBER FIRMs offices</a:t>
            </a:r>
            <a:endParaRPr lang="it-IT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046289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11385608" y="273559"/>
            <a:ext cx="266889" cy="178319"/>
          </a:xfrm>
        </p:spPr>
        <p:txBody>
          <a:bodyPr lIns="0" tIns="0" rIns="0" bIns="0" anchor="t" anchorCtr="0"/>
          <a:lstStyle>
            <a:lvl1pPr algn="r">
              <a:defRPr sz="933">
                <a:solidFill>
                  <a:schemeClr val="tx2"/>
                </a:solidFill>
              </a:defRPr>
            </a:lvl1pPr>
          </a:lstStyle>
          <a:p>
            <a:fld id="{C465A074-71B0-1C47-A455-7677837C124E}" type="slidenum">
              <a:rPr lang="it-IT" smtClean="0">
                <a:solidFill>
                  <a:srgbClr val="BD2027"/>
                </a:solidFill>
              </a:rPr>
              <a:pPr/>
              <a:t>‹N›</a:t>
            </a:fld>
            <a:endParaRPr lang="it-IT" dirty="0">
              <a:solidFill>
                <a:srgbClr val="BD2027"/>
              </a:solidFill>
            </a:endParaRPr>
          </a:p>
        </p:txBody>
      </p:sp>
      <p:sp>
        <p:nvSpPr>
          <p:cNvPr id="9" name="Segnaposto data 3"/>
          <p:cNvSpPr>
            <a:spLocks noGrp="1"/>
          </p:cNvSpPr>
          <p:nvPr>
            <p:ph type="dt" sz="half" idx="10"/>
          </p:nvPr>
        </p:nvSpPr>
        <p:spPr>
          <a:xfrm>
            <a:off x="4905602" y="6459985"/>
            <a:ext cx="1066420" cy="114300"/>
          </a:xfrm>
        </p:spPr>
        <p:txBody>
          <a:bodyPr lIns="0" tIns="0" rIns="0" bIns="0" anchor="t" anchorCtr="0"/>
          <a:lstStyle>
            <a:lvl1pPr>
              <a:defRPr sz="933">
                <a:solidFill>
                  <a:schemeClr val="tx2"/>
                </a:solidFill>
              </a:defRPr>
            </a:lvl1pPr>
          </a:lstStyle>
          <a:p>
            <a:fld id="{A03B9230-19A8-8540-840D-6775FFB41C6F}" type="datetime4">
              <a:rPr lang="it-IT" smtClean="0">
                <a:solidFill>
                  <a:srgbClr val="BD2027"/>
                </a:solidFill>
              </a:rPr>
              <a:pPr/>
              <a:t>2 ottobre 2025</a:t>
            </a:fld>
            <a:endParaRPr lang="it-IT" dirty="0">
              <a:solidFill>
                <a:srgbClr val="BD2027"/>
              </a:solidFill>
            </a:endParaRPr>
          </a:p>
        </p:txBody>
      </p:sp>
      <p:sp>
        <p:nvSpPr>
          <p:cNvPr id="11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6151067" y="6459986"/>
            <a:ext cx="3860800" cy="114300"/>
          </a:xfrm>
        </p:spPr>
        <p:txBody>
          <a:bodyPr lIns="0" tIns="0" rIns="0" bIns="0"/>
          <a:lstStyle>
            <a:lvl1pPr algn="l">
              <a:defRPr sz="933" baseline="0">
                <a:solidFill>
                  <a:schemeClr val="tx2"/>
                </a:solidFill>
              </a:defRPr>
            </a:lvl1pPr>
          </a:lstStyle>
          <a:p>
            <a:r>
              <a:rPr lang="it-IT" dirty="0">
                <a:solidFill>
                  <a:srgbClr val="BD2027"/>
                </a:solidFill>
              </a:rPr>
              <a:t>Presentation Title</a:t>
            </a:r>
          </a:p>
        </p:txBody>
      </p:sp>
      <p:sp>
        <p:nvSpPr>
          <p:cNvPr id="13" name="Titolo 1"/>
          <p:cNvSpPr>
            <a:spLocks noGrp="1"/>
          </p:cNvSpPr>
          <p:nvPr>
            <p:ph type="ctrTitle" hasCustomPrompt="1"/>
          </p:nvPr>
        </p:nvSpPr>
        <p:spPr>
          <a:xfrm>
            <a:off x="463067" y="730605"/>
            <a:ext cx="11182248" cy="425095"/>
          </a:xfrm>
          <a:prstGeom prst="rect">
            <a:avLst/>
          </a:prstGeom>
        </p:spPr>
        <p:txBody>
          <a:bodyPr/>
          <a:lstStyle>
            <a:lvl1pPr>
              <a:lnSpc>
                <a:spcPts val="2933"/>
              </a:lnSpc>
              <a:defRPr sz="2667" b="0" i="0" baseline="0">
                <a:solidFill>
                  <a:schemeClr val="tx2"/>
                </a:solidFill>
              </a:defRPr>
            </a:lvl1pPr>
          </a:lstStyle>
          <a:p>
            <a:r>
              <a:rPr lang="it-IT" dirty="0" err="1"/>
              <a:t>Section</a:t>
            </a:r>
            <a:r>
              <a:rPr lang="it-IT" dirty="0"/>
              <a:t> 00</a:t>
            </a:r>
          </a:p>
        </p:txBody>
      </p:sp>
      <p:sp>
        <p:nvSpPr>
          <p:cNvPr id="14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463067" y="3589009"/>
            <a:ext cx="11182248" cy="843291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667" baseline="0">
                <a:solidFill>
                  <a:srgbClr val="7F7F7F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/>
              <a:t>Section</a:t>
            </a:r>
            <a:r>
              <a:rPr lang="it-IT" dirty="0"/>
              <a:t> </a:t>
            </a:r>
            <a:r>
              <a:rPr lang="it-IT" dirty="0" err="1"/>
              <a:t>Subtitle</a:t>
            </a:r>
            <a:r>
              <a:rPr lang="it-IT" dirty="0"/>
              <a:t> 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20/24pt</a:t>
            </a:r>
          </a:p>
        </p:txBody>
      </p:sp>
      <p:sp>
        <p:nvSpPr>
          <p:cNvPr id="17" name="Segnaposto testo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067" y="2130425"/>
            <a:ext cx="11182248" cy="1407784"/>
          </a:xfrm>
        </p:spPr>
        <p:txBody>
          <a:bodyPr/>
          <a:lstStyle>
            <a:lvl1pPr>
              <a:lnSpc>
                <a:spcPct val="100000"/>
              </a:lnSpc>
              <a:defRPr sz="4400" b="1" i="0" baseline="0"/>
            </a:lvl1pPr>
          </a:lstStyle>
          <a:p>
            <a:pPr lvl="0"/>
            <a:r>
              <a:rPr lang="it-IT" dirty="0" err="1"/>
              <a:t>Section</a:t>
            </a:r>
            <a:r>
              <a:rPr lang="it-IT" dirty="0"/>
              <a:t> Title 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Bold</a:t>
            </a:r>
            <a:r>
              <a:rPr lang="it-IT" dirty="0"/>
              <a:t> 33/35pt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2"/>
          <a:srcRect l="1" r="14959" b="85913"/>
          <a:stretch/>
        </p:blipFill>
        <p:spPr>
          <a:xfrm>
            <a:off x="0" y="0"/>
            <a:ext cx="288000" cy="966080"/>
          </a:xfrm>
          <a:prstGeom prst="rect">
            <a:avLst/>
          </a:prstGeom>
        </p:spPr>
      </p:pic>
      <p:pic>
        <p:nvPicPr>
          <p:cNvPr id="12" name="Immagine 1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43717" y="6202132"/>
            <a:ext cx="592375" cy="4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90744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367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2914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95F1C191-76C3-C447-A5DC-2BF7591CE9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4" y="6376778"/>
            <a:ext cx="1660525" cy="336917"/>
          </a:xfrm>
          <a:prstGeom prst="rect">
            <a:avLst/>
          </a:prstGeom>
        </p:spPr>
      </p:pic>
      <p:sp>
        <p:nvSpPr>
          <p:cNvPr id="5" name="Titelplatzhalter 1">
            <a:extLst>
              <a:ext uri="{FF2B5EF4-FFF2-40B4-BE49-F238E27FC236}">
                <a16:creationId xmlns:a16="http://schemas.microsoft.com/office/drawing/2014/main" id="{3F335040-8AB7-E94A-8E3A-71A9CD444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044868"/>
            <a:ext cx="6289849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>
              <a:defRPr sz="3400" b="1" i="0" cap="all" baseline="0">
                <a:solidFill>
                  <a:schemeClr val="bg1"/>
                </a:solidFill>
                <a:latin typeface="Verdana" panose="020B0604030504040204" pitchFamily="34" charset="0"/>
              </a:defRPr>
            </a:lvl1pPr>
          </a:lstStyle>
          <a:p>
            <a:r>
              <a:rPr lang="de-DE" dirty="0"/>
              <a:t>CHAPTER TITLE</a:t>
            </a:r>
            <a:endParaRPr lang="en-US" dirty="0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538425EB-8B48-E24C-BA2A-9AD97298FFA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3417102"/>
            <a:ext cx="6289849" cy="10563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SUBTITLE LOREM IPSUM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D739E62E-182F-374E-90F6-C13C4D8E86B2}"/>
              </a:ext>
            </a:extLst>
          </p:cNvPr>
          <p:cNvGrpSpPr/>
          <p:nvPr userDrawn="1"/>
        </p:nvGrpSpPr>
        <p:grpSpPr>
          <a:xfrm>
            <a:off x="7056150" y="0"/>
            <a:ext cx="5135850" cy="6858000"/>
            <a:chOff x="7056150" y="0"/>
            <a:chExt cx="5135850" cy="6858000"/>
          </a:xfrm>
          <a:solidFill>
            <a:schemeClr val="bg1"/>
          </a:solidFill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3BBA08C7-29D2-5646-BBB1-A98EB10DE059}"/>
                </a:ext>
              </a:extLst>
            </p:cNvPr>
            <p:cNvSpPr/>
            <p:nvPr userDrawn="1"/>
          </p:nvSpPr>
          <p:spPr>
            <a:xfrm>
              <a:off x="9987280" y="0"/>
              <a:ext cx="220472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htwinkliges Dreieck 9">
              <a:extLst>
                <a:ext uri="{FF2B5EF4-FFF2-40B4-BE49-F238E27FC236}">
                  <a16:creationId xmlns:a16="http://schemas.microsoft.com/office/drawing/2014/main" id="{8216667B-8E45-AE4C-8124-95BBB240342F}"/>
                </a:ext>
              </a:extLst>
            </p:cNvPr>
            <p:cNvSpPr/>
            <p:nvPr userDrawn="1"/>
          </p:nvSpPr>
          <p:spPr>
            <a:xfrm flipH="1">
              <a:off x="7056150" y="0"/>
              <a:ext cx="2931126" cy="6858000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9115505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DB335BC-B597-C243-82FD-C43056E620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4806202"/>
            <a:ext cx="2868613" cy="10144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 u="none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>
              <a:buNone/>
              <a:tabLst/>
              <a:defRPr sz="1400" b="0" i="0">
                <a:solidFill>
                  <a:schemeClr val="tx2"/>
                </a:solidFill>
                <a:latin typeface="Verdana" panose="020B0604030504040204" pitchFamily="34" charset="0"/>
              </a:defRPr>
            </a:lvl2pPr>
            <a:lvl3pPr marL="11113" indent="0">
              <a:buNone/>
              <a:tabLst/>
              <a:defRPr sz="1100" b="0" i="0">
                <a:solidFill>
                  <a:schemeClr val="bg2"/>
                </a:solidFill>
                <a:latin typeface="Verdana" panose="020B0604030504040204" pitchFamily="34" charset="0"/>
              </a:defRPr>
            </a:lvl3pPr>
          </a:lstStyle>
          <a:p>
            <a:pPr lvl="0"/>
            <a:r>
              <a:rPr lang="en-US" b="1" dirty="0"/>
              <a:t>NAME</a:t>
            </a:r>
            <a:endParaRPr lang="en-US" b="0" dirty="0"/>
          </a:p>
          <a:p>
            <a:pPr lvl="1"/>
            <a:r>
              <a:rPr lang="en-US" b="0" dirty="0"/>
              <a:t>Title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M:</a:t>
            </a:r>
            <a:endParaRPr lang="de-DE" b="1" dirty="0"/>
          </a:p>
        </p:txBody>
      </p:sp>
      <p:sp>
        <p:nvSpPr>
          <p:cNvPr id="6" name="Textplatzhalter 3">
            <a:extLst>
              <a:ext uri="{FF2B5EF4-FFF2-40B4-BE49-F238E27FC236}">
                <a16:creationId xmlns:a16="http://schemas.microsoft.com/office/drawing/2014/main" id="{0DA1AF3E-ACAA-E643-A46A-6BF0692E00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61693" y="4806202"/>
            <a:ext cx="2868613" cy="10144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 marL="11113" indent="0">
              <a:buNone/>
              <a:tabLst/>
              <a:defRPr sz="1400" b="0" i="0">
                <a:solidFill>
                  <a:schemeClr val="tx2"/>
                </a:solidFill>
                <a:latin typeface="Verdana" panose="020B0604030504040204" pitchFamily="34" charset="0"/>
              </a:defRPr>
            </a:lvl2pPr>
            <a:lvl3pPr marL="11113" indent="0">
              <a:buNone/>
              <a:tabLst/>
              <a:defRPr lang="de-DE" sz="1100" b="0" i="0" kern="1200" dirty="0" smtClean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lvl="0"/>
            <a:r>
              <a:rPr lang="de-DE" b="1" dirty="0"/>
              <a:t>NAME</a:t>
            </a:r>
            <a:endParaRPr lang="en-US" b="1" dirty="0"/>
          </a:p>
          <a:p>
            <a:pPr lvl="1"/>
            <a:r>
              <a:rPr lang="en-US" b="0" dirty="0"/>
              <a:t>Title</a:t>
            </a:r>
          </a:p>
          <a:p>
            <a:pPr marL="11113" lvl="2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</a:pPr>
            <a:r>
              <a:rPr lang="en-US" b="0" dirty="0"/>
              <a:t>E-Mail Address</a:t>
            </a:r>
          </a:p>
          <a:p>
            <a:pPr marL="11113" lvl="2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</a:pPr>
            <a:r>
              <a:rPr lang="en-US" b="0" dirty="0"/>
              <a:t>T:</a:t>
            </a:r>
          </a:p>
          <a:p>
            <a:pPr marL="11113" lvl="2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</a:pPr>
            <a:r>
              <a:rPr lang="en-US" b="0" dirty="0"/>
              <a:t>M:</a:t>
            </a:r>
            <a:endParaRPr lang="de-DE" b="1" dirty="0"/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42C11DE7-7D7A-F34E-8CDE-8465AC11F6A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485187" y="4806202"/>
            <a:ext cx="2868613" cy="10144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 marL="11113" indent="0">
              <a:buNone/>
              <a:tabLst/>
              <a:defRPr sz="1400" b="0" i="0">
                <a:solidFill>
                  <a:schemeClr val="tx2"/>
                </a:solidFill>
                <a:latin typeface="Verdana" panose="020B0604030504040204" pitchFamily="34" charset="0"/>
              </a:defRPr>
            </a:lvl2pPr>
            <a:lvl3pPr marL="11113" indent="0">
              <a:buNone/>
              <a:tabLst/>
              <a:defRPr lang="de-DE" sz="1100" b="0" i="0" kern="1200" dirty="0" smtClean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lvl="0"/>
            <a:r>
              <a:rPr lang="de-DE" b="1" dirty="0"/>
              <a:t>NAME</a:t>
            </a:r>
            <a:endParaRPr lang="en-US" b="1" dirty="0"/>
          </a:p>
          <a:p>
            <a:pPr lvl="1"/>
            <a:r>
              <a:rPr lang="en-US" b="0" dirty="0"/>
              <a:t>Title</a:t>
            </a:r>
          </a:p>
          <a:p>
            <a:pPr marL="11113" lvl="2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</a:pPr>
            <a:r>
              <a:rPr lang="en-US" b="0" dirty="0"/>
              <a:t>E-Mail Address</a:t>
            </a:r>
          </a:p>
          <a:p>
            <a:pPr marL="11113" lvl="2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</a:pPr>
            <a:r>
              <a:rPr lang="en-US" b="0" dirty="0"/>
              <a:t>T:</a:t>
            </a:r>
          </a:p>
          <a:p>
            <a:pPr marL="11113" lvl="2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</a:pPr>
            <a:r>
              <a:rPr lang="en-US" b="0" dirty="0"/>
              <a:t>M:</a:t>
            </a:r>
            <a:endParaRPr lang="de-DE" b="1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E697CE51-EBE9-3443-BAF3-F68F3AA0C9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1653" y="1070512"/>
            <a:ext cx="3291794" cy="667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04329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_RE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E103720D-C773-6E4C-A4A6-844658241F5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4806202"/>
            <a:ext cx="2868613" cy="10144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 u="none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>
              <a:buNone/>
              <a:tabLst/>
              <a:defRPr sz="1400" b="0" i="0">
                <a:solidFill>
                  <a:schemeClr val="bg1"/>
                </a:solidFill>
                <a:latin typeface="Verdana" panose="020B0604030504040204" pitchFamily="34" charset="0"/>
              </a:defRPr>
            </a:lvl2pPr>
            <a:lvl3pPr marL="11113" indent="0">
              <a:buNone/>
              <a:tabLst/>
              <a:defRPr sz="1100" b="0" i="0">
                <a:solidFill>
                  <a:schemeClr val="bg1"/>
                </a:solidFill>
                <a:latin typeface="Verdana" panose="020B0604030504040204" pitchFamily="34" charset="0"/>
              </a:defRPr>
            </a:lvl3pPr>
          </a:lstStyle>
          <a:p>
            <a:pPr lvl="0"/>
            <a:r>
              <a:rPr lang="en-US" b="1" dirty="0"/>
              <a:t>NAME</a:t>
            </a:r>
            <a:endParaRPr lang="en-US" b="0" dirty="0"/>
          </a:p>
          <a:p>
            <a:pPr lvl="1"/>
            <a:r>
              <a:rPr lang="en-US" b="0" dirty="0"/>
              <a:t>Title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M:</a:t>
            </a:r>
            <a:endParaRPr lang="de-DE" b="1" dirty="0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DD7EBA9F-243A-F449-A22B-F73A4FC67EB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61693" y="4806202"/>
            <a:ext cx="2868613" cy="10144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 marL="11113" indent="0">
              <a:buNone/>
              <a:tabLst/>
              <a:defRPr sz="1400" b="0" i="0">
                <a:solidFill>
                  <a:schemeClr val="bg1"/>
                </a:solidFill>
                <a:latin typeface="Verdana" panose="020B0604030504040204" pitchFamily="34" charset="0"/>
              </a:defRPr>
            </a:lvl2pPr>
            <a:lvl3pPr marL="11113" indent="0">
              <a:buNone/>
              <a:tabLst/>
              <a:defRPr lang="de-DE" sz="1100" b="0" i="0" kern="1200" dirty="0" smtClean="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lvl="0"/>
            <a:r>
              <a:rPr lang="de-DE" b="1" dirty="0"/>
              <a:t>NAME</a:t>
            </a:r>
            <a:endParaRPr lang="en-US" b="1" dirty="0"/>
          </a:p>
          <a:p>
            <a:pPr lvl="1"/>
            <a:r>
              <a:rPr lang="en-US" b="0" dirty="0"/>
              <a:t>Title</a:t>
            </a:r>
          </a:p>
          <a:p>
            <a:pPr marL="11113" lvl="2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</a:pPr>
            <a:r>
              <a:rPr lang="en-US" b="0" dirty="0"/>
              <a:t>E-Mail Address</a:t>
            </a:r>
          </a:p>
          <a:p>
            <a:pPr marL="11113" lvl="2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</a:pPr>
            <a:r>
              <a:rPr lang="en-US" b="0" dirty="0"/>
              <a:t>T:</a:t>
            </a:r>
          </a:p>
          <a:p>
            <a:pPr marL="11113" lvl="2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</a:pPr>
            <a:r>
              <a:rPr lang="en-US" b="0" dirty="0"/>
              <a:t>M:</a:t>
            </a:r>
            <a:endParaRPr lang="de-DE" b="1" dirty="0"/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38177F7C-14D9-A241-B494-884D6358D43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485187" y="4806202"/>
            <a:ext cx="2868613" cy="10144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 marL="11113" indent="0">
              <a:buNone/>
              <a:tabLst/>
              <a:defRPr sz="1400" b="0" i="0">
                <a:solidFill>
                  <a:schemeClr val="bg1"/>
                </a:solidFill>
                <a:latin typeface="Verdana" panose="020B0604030504040204" pitchFamily="34" charset="0"/>
              </a:defRPr>
            </a:lvl2pPr>
            <a:lvl3pPr marL="11113" indent="0">
              <a:buNone/>
              <a:tabLst/>
              <a:defRPr lang="de-DE" sz="1100" b="0" i="0" kern="1200" dirty="0" smtClean="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lvl="0"/>
            <a:r>
              <a:rPr lang="de-DE" b="1" dirty="0"/>
              <a:t>NAME</a:t>
            </a:r>
            <a:endParaRPr lang="en-US" b="1" dirty="0"/>
          </a:p>
          <a:p>
            <a:pPr lvl="1"/>
            <a:r>
              <a:rPr lang="en-US" b="0" dirty="0"/>
              <a:t>Title</a:t>
            </a:r>
          </a:p>
          <a:p>
            <a:pPr marL="11113" lvl="2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</a:pPr>
            <a:r>
              <a:rPr lang="en-US" b="0" dirty="0"/>
              <a:t>E-Mail Address</a:t>
            </a:r>
          </a:p>
          <a:p>
            <a:pPr marL="11113" lvl="2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</a:pPr>
            <a:r>
              <a:rPr lang="en-US" b="0" dirty="0"/>
              <a:t>T:</a:t>
            </a:r>
          </a:p>
          <a:p>
            <a:pPr marL="11113" lvl="2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</a:pPr>
            <a:r>
              <a:rPr lang="en-US" b="0" dirty="0"/>
              <a:t>M:</a:t>
            </a:r>
            <a:endParaRPr lang="de-DE" b="1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F1525108-D274-E848-92DD-40979F5853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1653" y="1070512"/>
            <a:ext cx="3291793" cy="667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29707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_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>
            <a:extLst>
              <a:ext uri="{FF2B5EF4-FFF2-40B4-BE49-F238E27FC236}">
                <a16:creationId xmlns:a16="http://schemas.microsoft.com/office/drawing/2014/main" id="{F421309D-F7D8-9B49-BC82-223DE54B3B8A}"/>
              </a:ext>
            </a:extLst>
          </p:cNvPr>
          <p:cNvSpPr txBox="1"/>
          <p:nvPr userDrawn="1"/>
        </p:nvSpPr>
        <p:spPr>
          <a:xfrm>
            <a:off x="846000" y="5850000"/>
            <a:ext cx="770802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noProof="0" dirty="0">
                <a:solidFill>
                  <a:schemeClr val="bg2"/>
                </a:solidFill>
              </a:rPr>
              <a:t>BEIJING | BERLIN | BRUSSELS | DUSSELDORF | FRANKFURT | HAMBURG </a:t>
            </a:r>
            <a:br>
              <a:rPr lang="en-US" sz="1100" noProof="0" dirty="0">
                <a:solidFill>
                  <a:schemeClr val="bg2"/>
                </a:solidFill>
              </a:rPr>
            </a:br>
            <a:r>
              <a:rPr lang="en-US" sz="1100" noProof="0" dirty="0">
                <a:solidFill>
                  <a:schemeClr val="bg2"/>
                </a:solidFill>
              </a:rPr>
              <a:t>LONDON | MILAN | MOSCOW | MUNICH | PARIS | ROME | SHANGHAI</a:t>
            </a:r>
          </a:p>
          <a:p>
            <a:endParaRPr lang="en-US" sz="1100" dirty="0">
              <a:solidFill>
                <a:schemeClr val="bg2"/>
              </a:solidFill>
            </a:endParaRPr>
          </a:p>
          <a:p>
            <a:r>
              <a:rPr lang="en-US" sz="1700" b="1" dirty="0">
                <a:solidFill>
                  <a:schemeClr val="tx2"/>
                </a:solidFill>
              </a:rPr>
              <a:t>ADVANT-NCTM.COM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E9AC9BD4-AFF0-0148-8501-BC12E7B2F72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1653" y="1070512"/>
            <a:ext cx="3291794" cy="667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27201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26" Type="http://schemas.openxmlformats.org/officeDocument/2006/relationships/slideLayout" Target="../slideLayouts/slideLayout40.xml"/><Relationship Id="rId39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35.xml"/><Relationship Id="rId34" Type="http://schemas.openxmlformats.org/officeDocument/2006/relationships/slideLayout" Target="../slideLayouts/slideLayout48.xml"/><Relationship Id="rId42" Type="http://schemas.openxmlformats.org/officeDocument/2006/relationships/tags" Target="../tags/tag3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slideLayout" Target="../slideLayouts/slideLayout34.xml"/><Relationship Id="rId29" Type="http://schemas.openxmlformats.org/officeDocument/2006/relationships/slideLayout" Target="../slideLayouts/slideLayout43.xml"/><Relationship Id="rId41" Type="http://schemas.openxmlformats.org/officeDocument/2006/relationships/theme" Target="../theme/theme2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slideLayout" Target="../slideLayouts/slideLayout38.xml"/><Relationship Id="rId32" Type="http://schemas.openxmlformats.org/officeDocument/2006/relationships/slideLayout" Target="../slideLayouts/slideLayout46.xml"/><Relationship Id="rId37" Type="http://schemas.openxmlformats.org/officeDocument/2006/relationships/slideLayout" Target="../slideLayouts/slideLayout51.xml"/><Relationship Id="rId40" Type="http://schemas.openxmlformats.org/officeDocument/2006/relationships/slideLayout" Target="../slideLayouts/slideLayout54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slideLayout" Target="../slideLayouts/slideLayout37.xml"/><Relationship Id="rId28" Type="http://schemas.openxmlformats.org/officeDocument/2006/relationships/slideLayout" Target="../slideLayouts/slideLayout42.xml"/><Relationship Id="rId36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24.xml"/><Relationship Id="rId19" Type="http://schemas.openxmlformats.org/officeDocument/2006/relationships/slideLayout" Target="../slideLayouts/slideLayout33.xml"/><Relationship Id="rId31" Type="http://schemas.openxmlformats.org/officeDocument/2006/relationships/slideLayout" Target="../slideLayouts/slideLayout45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slideLayout" Target="../slideLayouts/slideLayout36.xml"/><Relationship Id="rId27" Type="http://schemas.openxmlformats.org/officeDocument/2006/relationships/slideLayout" Target="../slideLayouts/slideLayout41.xml"/><Relationship Id="rId30" Type="http://schemas.openxmlformats.org/officeDocument/2006/relationships/slideLayout" Target="../slideLayouts/slideLayout44.xml"/><Relationship Id="rId35" Type="http://schemas.openxmlformats.org/officeDocument/2006/relationships/slideLayout" Target="../slideLayouts/slideLayout49.xml"/><Relationship Id="rId43" Type="http://schemas.openxmlformats.org/officeDocument/2006/relationships/oleObject" Target="../embeddings/oleObject2.bin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slideLayout" Target="../slideLayouts/slideLayout39.xml"/><Relationship Id="rId33" Type="http://schemas.openxmlformats.org/officeDocument/2006/relationships/slideLayout" Target="../slideLayouts/slideLayout47.xml"/><Relationship Id="rId38" Type="http://schemas.openxmlformats.org/officeDocument/2006/relationships/slideLayout" Target="../slideLayouts/slideLayout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A1A7DADD-3652-4D78-B96F-B65596EC75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870079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7" imgW="338" imgH="338" progId="TCLayout.ActiveDocument.1">
                  <p:embed/>
                </p:oleObj>
              </mc:Choice>
              <mc:Fallback>
                <p:oleObj name="think-cell Folie" r:id="rId17" imgW="338" imgH="33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A1A7DADD-3652-4D78-B96F-B65596EC75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38935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20" r:id="rId3"/>
    <p:sldLayoutId id="2147483721" r:id="rId4"/>
    <p:sldLayoutId id="2147483722" r:id="rId5"/>
    <p:sldLayoutId id="2147483723" r:id="rId6"/>
    <p:sldLayoutId id="2147483709" r:id="rId7"/>
    <p:sldLayoutId id="2147483710" r:id="rId8"/>
    <p:sldLayoutId id="2147483711" r:id="rId9"/>
    <p:sldLayoutId id="2147483717" r:id="rId10"/>
    <p:sldLayoutId id="2147483746" r:id="rId11"/>
    <p:sldLayoutId id="2147483747" r:id="rId12"/>
    <p:sldLayoutId id="2147483748" r:id="rId13"/>
    <p:sldLayoutId id="2147483749" r:id="rId14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362C9A3-5E61-4F54-9297-A4554C5EBE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4227074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3" imgW="338" imgH="338" progId="TCLayout.ActiveDocument.1">
                  <p:embed/>
                </p:oleObj>
              </mc:Choice>
              <mc:Fallback>
                <p:oleObj name="think-cell Folie" r:id="rId43" imgW="338" imgH="33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362C9A3-5E61-4F54-9297-A4554C5EBE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CC1947C0-00A9-BB46-AC2A-7999C074F6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843" y="6398000"/>
            <a:ext cx="3963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27753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68" r:id="rId2"/>
    <p:sldLayoutId id="2147483689" r:id="rId3"/>
    <p:sldLayoutId id="2147483667" r:id="rId4"/>
    <p:sldLayoutId id="2147483726" r:id="rId5"/>
    <p:sldLayoutId id="2147483671" r:id="rId6"/>
    <p:sldLayoutId id="2147483727" r:id="rId7"/>
    <p:sldLayoutId id="2147483692" r:id="rId8"/>
    <p:sldLayoutId id="2147483685" r:id="rId9"/>
    <p:sldLayoutId id="2147483728" r:id="rId10"/>
    <p:sldLayoutId id="2147483725" r:id="rId11"/>
    <p:sldLayoutId id="2147483686" r:id="rId12"/>
    <p:sldLayoutId id="2147483729" r:id="rId13"/>
    <p:sldLayoutId id="2147483724" r:id="rId14"/>
    <p:sldLayoutId id="2147483696" r:id="rId15"/>
    <p:sldLayoutId id="2147483698" r:id="rId16"/>
    <p:sldLayoutId id="2147483697" r:id="rId17"/>
    <p:sldLayoutId id="2147483699" r:id="rId18"/>
    <p:sldLayoutId id="2147483702" r:id="rId19"/>
    <p:sldLayoutId id="2147483701" r:id="rId20"/>
    <p:sldLayoutId id="2147483715" r:id="rId21"/>
    <p:sldLayoutId id="2147483716" r:id="rId22"/>
    <p:sldLayoutId id="2147483700" r:id="rId23"/>
    <p:sldLayoutId id="2147483714" r:id="rId24"/>
    <p:sldLayoutId id="2147483736" r:id="rId25"/>
    <p:sldLayoutId id="2147483674" r:id="rId26"/>
    <p:sldLayoutId id="2147483683" r:id="rId27"/>
    <p:sldLayoutId id="2147483695" r:id="rId28"/>
    <p:sldLayoutId id="2147483682" r:id="rId29"/>
    <p:sldLayoutId id="2147483694" r:id="rId30"/>
    <p:sldLayoutId id="2147483690" r:id="rId31"/>
    <p:sldLayoutId id="2147483679" r:id="rId32"/>
    <p:sldLayoutId id="2147483681" r:id="rId33"/>
    <p:sldLayoutId id="2147483680" r:id="rId34"/>
    <p:sldLayoutId id="2147483712" r:id="rId35"/>
    <p:sldLayoutId id="2147483713" r:id="rId36"/>
    <p:sldLayoutId id="2147483740" r:id="rId37"/>
    <p:sldLayoutId id="2147483741" r:id="rId38"/>
    <p:sldLayoutId id="2147483743" r:id="rId39"/>
    <p:sldLayoutId id="2147483744" r:id="rId40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i="0" kern="1200" cap="all" baseline="0">
          <a:solidFill>
            <a:schemeClr val="tx2"/>
          </a:solidFill>
          <a:latin typeface="Verdana" panose="020B0604030504040204" pitchFamily="34" charset="0"/>
          <a:ea typeface="+mj-ea"/>
          <a:cs typeface="Verdana" panose="020B060403050404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1.png"/><Relationship Id="rId18" Type="http://schemas.openxmlformats.org/officeDocument/2006/relationships/image" Target="../media/image26.png"/><Relationship Id="rId3" Type="http://schemas.microsoft.com/office/2007/relationships/hdphoto" Target="../media/hdphoto1.wdp"/><Relationship Id="rId7" Type="http://schemas.openxmlformats.org/officeDocument/2006/relationships/image" Target="../media/image15.png"/><Relationship Id="rId12" Type="http://schemas.openxmlformats.org/officeDocument/2006/relationships/image" Target="../media/image20.png"/><Relationship Id="rId17" Type="http://schemas.openxmlformats.org/officeDocument/2006/relationships/image" Target="../media/image25.png"/><Relationship Id="rId2" Type="http://schemas.openxmlformats.org/officeDocument/2006/relationships/image" Target="../media/image11.png"/><Relationship Id="rId16" Type="http://schemas.openxmlformats.org/officeDocument/2006/relationships/image" Target="../media/image24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4.png"/><Relationship Id="rId11" Type="http://schemas.openxmlformats.org/officeDocument/2006/relationships/image" Target="../media/image19.png"/><Relationship Id="rId5" Type="http://schemas.openxmlformats.org/officeDocument/2006/relationships/image" Target="../media/image13.png"/><Relationship Id="rId15" Type="http://schemas.openxmlformats.org/officeDocument/2006/relationships/image" Target="../media/image23.png"/><Relationship Id="rId10" Type="http://schemas.openxmlformats.org/officeDocument/2006/relationships/image" Target="../media/image18.png"/><Relationship Id="rId19" Type="http://schemas.openxmlformats.org/officeDocument/2006/relationships/image" Target="../media/image27.png"/><Relationship Id="rId4" Type="http://schemas.openxmlformats.org/officeDocument/2006/relationships/image" Target="../media/image12.png"/><Relationship Id="rId9" Type="http://schemas.openxmlformats.org/officeDocument/2006/relationships/image" Target="../media/image17.png"/><Relationship Id="rId14" Type="http://schemas.openxmlformats.org/officeDocument/2006/relationships/image" Target="../media/image22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g"/><Relationship Id="rId7" Type="http://schemas.openxmlformats.org/officeDocument/2006/relationships/image" Target="../media/image45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2333F1-96C9-7941-A220-3312DD1322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700809"/>
            <a:ext cx="10873208" cy="3373159"/>
          </a:xfrm>
        </p:spPr>
        <p:txBody>
          <a:bodyPr/>
          <a:lstStyle/>
          <a:p>
            <a:r>
              <a:rPr lang="it-IT" sz="2800" b="1" kern="1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La sfida dell’ </a:t>
            </a:r>
            <a:r>
              <a:rPr lang="it-IT" sz="2800" kern="1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AI per il mercato assicurativo e gli impatti nella gestione del rischio</a:t>
            </a:r>
            <a:r>
              <a:rPr lang="it-IT" sz="2800" b="1" kern="1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it-IT" sz="280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42538EB-F1FD-4A42-8DFD-E714E8EF1B4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5073968"/>
            <a:ext cx="10802416" cy="1379368"/>
          </a:xfrm>
          <a:prstGeom prst="rect">
            <a:avLst/>
          </a:prstGeom>
        </p:spPr>
        <p:txBody>
          <a:bodyPr/>
          <a:lstStyle/>
          <a:p>
            <a:r>
              <a:rPr lang="it-IT" sz="1600" dirty="0"/>
              <a:t>XXXI edizione del convegno RIB - ASSIGECO </a:t>
            </a:r>
          </a:p>
          <a:p>
            <a:r>
              <a:rPr lang="it-IT" sz="1400" i="1" dirty="0"/>
              <a:t>Saint-Jean-Cap-Ferrat, 2 ottobre 2025</a:t>
            </a:r>
          </a:p>
          <a:p>
            <a:r>
              <a:rPr lang="it-IT" sz="1400" cap="none" dirty="0"/>
              <a:t>Antonia Di Bella</a:t>
            </a:r>
          </a:p>
        </p:txBody>
      </p:sp>
    </p:spTree>
    <p:extLst>
      <p:ext uri="{BB962C8B-B14F-4D97-AF65-F5344CB8AC3E}">
        <p14:creationId xmlns:p14="http://schemas.microsoft.com/office/powerpoint/2010/main" val="132519986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8CA7BE-4149-9CB6-A3B8-9923D2BD09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">
            <a:extLst>
              <a:ext uri="{FF2B5EF4-FFF2-40B4-BE49-F238E27FC236}">
                <a16:creationId xmlns:a16="http://schemas.microsoft.com/office/drawing/2014/main" id="{061B36A4-4E85-76C9-6E1B-4ACF7404F3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9336" y="1704409"/>
            <a:ext cx="11449272" cy="35855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1" algn="just"/>
            <a:r>
              <a:rPr lang="it-IT" dirty="0"/>
              <a:t>L’Opinion è rivolta ai regolatori nazionali con l’obiettivo di chiarire come interpretare le disposizioni esistenti del diritto assicurativo (IDD, Solvency II, DORA) nel contesto dell’uso di sistemi IA.</a:t>
            </a:r>
          </a:p>
          <a:p>
            <a:pPr lvl="1" algn="just"/>
            <a:r>
              <a:rPr lang="it-IT" dirty="0"/>
              <a:t>Non introduce nuovi obblighi di legge, né amplia l’ambito dell’AI Act o delle direttive assicurative; nelle intenzioni di EIOPA è più un documento di “supporto / interpretazione / orientamento” (“supervisory </a:t>
            </a:r>
            <a:r>
              <a:rPr lang="it-IT" dirty="0" err="1"/>
              <a:t>expectations</a:t>
            </a:r>
            <a:r>
              <a:rPr lang="it-IT" dirty="0"/>
              <a:t>”) rispetto a ciò che le imprese devono fare per essere conformi. </a:t>
            </a:r>
          </a:p>
          <a:p>
            <a:pPr lvl="1" algn="just"/>
            <a:endParaRPr lang="it-IT" dirty="0"/>
          </a:p>
          <a:p>
            <a:pPr lvl="1" algn="just"/>
            <a:r>
              <a:rPr lang="it-IT" dirty="0"/>
              <a:t>L’Opinion si applica a sistemi IA utilizzati nell’assicurazione </a:t>
            </a:r>
            <a:r>
              <a:rPr lang="it-IT" i="1" dirty="0"/>
              <a:t>non</a:t>
            </a:r>
            <a:r>
              <a:rPr lang="it-IT" dirty="0"/>
              <a:t> già classificati come “</a:t>
            </a:r>
            <a:r>
              <a:rPr lang="it-IT" dirty="0" err="1"/>
              <a:t>prohibited</a:t>
            </a:r>
            <a:r>
              <a:rPr lang="it-IT" dirty="0"/>
              <a:t>” o “alto rischio” secondo l’AI Act, per evitare sovrapposizioni normative.</a:t>
            </a:r>
          </a:p>
          <a:p>
            <a:pPr lvl="1" algn="just"/>
            <a:r>
              <a:rPr lang="it-IT" dirty="0"/>
              <a:t>Per i sistemi ad alto rischio / proibiti, l’AI Act già impone requisiti stringenti, che restano validi.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altLang="it-IT" sz="1100" b="1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.  </a:t>
            </a:r>
            <a:endParaRPr kumimoji="0" lang="it-IT" altLang="it-IT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" name="object 23">
            <a:extLst>
              <a:ext uri="{FF2B5EF4-FFF2-40B4-BE49-F238E27FC236}">
                <a16:creationId xmlns:a16="http://schemas.microsoft.com/office/drawing/2014/main" id="{65203315-4D95-A5A3-BA04-A9F30900496A}"/>
              </a:ext>
            </a:extLst>
          </p:cNvPr>
          <p:cNvSpPr txBox="1">
            <a:spLocks/>
          </p:cNvSpPr>
          <p:nvPr/>
        </p:nvSpPr>
        <p:spPr>
          <a:xfrm>
            <a:off x="119336" y="188645"/>
            <a:ext cx="12025336" cy="93551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73025" rIns="0" bIns="0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i="0" kern="1200">
                <a:solidFill>
                  <a:schemeClr val="tx1"/>
                </a:solidFill>
                <a:latin typeface="Trebuchet MS"/>
                <a:ea typeface="+mj-ea"/>
                <a:cs typeface="Trebuchet MS"/>
              </a:defRPr>
            </a:lvl1pPr>
          </a:lstStyle>
          <a:p>
            <a:pPr algn="ctr">
              <a:lnSpc>
                <a:spcPct val="100000"/>
              </a:lnSpc>
              <a:spcBef>
                <a:spcPts val="575"/>
              </a:spcBef>
            </a:pPr>
            <a:r>
              <a:rPr lang="it-IT" sz="2800" cap="all" dirty="0">
                <a:solidFill>
                  <a:schemeClr val="tx2"/>
                </a:solidFill>
                <a:latin typeface="Verdana" panose="020B0604030504040204" pitchFamily="34" charset="0"/>
                <a:cs typeface="+mj-cs"/>
              </a:rPr>
              <a:t>Opinion EIOPA  on AI Governance and Risk Management </a:t>
            </a:r>
          </a:p>
        </p:txBody>
      </p:sp>
    </p:spTree>
    <p:extLst>
      <p:ext uri="{BB962C8B-B14F-4D97-AF65-F5344CB8AC3E}">
        <p14:creationId xmlns:p14="http://schemas.microsoft.com/office/powerpoint/2010/main" val="41405075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0C6603-4D3D-673E-4D09-D343FC705B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">
            <a:extLst>
              <a:ext uri="{FF2B5EF4-FFF2-40B4-BE49-F238E27FC236}">
                <a16:creationId xmlns:a16="http://schemas.microsoft.com/office/drawing/2014/main" id="{757F6F0B-65D1-F201-D3EE-92393AF9C0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9336" y="3227903"/>
            <a:ext cx="11449272" cy="5386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1" algn="just"/>
            <a:r>
              <a:rPr lang="it-IT" dirty="0"/>
              <a:t>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altLang="it-IT" sz="1100" b="1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.  </a:t>
            </a:r>
            <a:endParaRPr kumimoji="0" lang="it-IT" altLang="it-IT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" name="object 23">
            <a:extLst>
              <a:ext uri="{FF2B5EF4-FFF2-40B4-BE49-F238E27FC236}">
                <a16:creationId xmlns:a16="http://schemas.microsoft.com/office/drawing/2014/main" id="{874E2E1C-B9AE-BA80-AC76-97885CB7A700}"/>
              </a:ext>
            </a:extLst>
          </p:cNvPr>
          <p:cNvSpPr txBox="1">
            <a:spLocks/>
          </p:cNvSpPr>
          <p:nvPr/>
        </p:nvSpPr>
        <p:spPr>
          <a:xfrm>
            <a:off x="119336" y="188645"/>
            <a:ext cx="12025336" cy="93551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73025" rIns="0" bIns="0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i="0" kern="1200">
                <a:solidFill>
                  <a:schemeClr val="tx1"/>
                </a:solidFill>
                <a:latin typeface="Trebuchet MS"/>
                <a:ea typeface="+mj-ea"/>
                <a:cs typeface="Trebuchet MS"/>
              </a:defRPr>
            </a:lvl1pPr>
          </a:lstStyle>
          <a:p>
            <a:pPr algn="ctr">
              <a:lnSpc>
                <a:spcPct val="100000"/>
              </a:lnSpc>
              <a:spcBef>
                <a:spcPts val="575"/>
              </a:spcBef>
            </a:pPr>
            <a:r>
              <a:rPr lang="it-IT" sz="2800" cap="all" dirty="0">
                <a:solidFill>
                  <a:schemeClr val="tx2"/>
                </a:solidFill>
                <a:latin typeface="Verdana" panose="020B0604030504040204" pitchFamily="34" charset="0"/>
                <a:cs typeface="+mj-cs"/>
              </a:rPr>
              <a:t>Opinion EIOPA  su AI Governance and Risk Management </a:t>
            </a: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8FA5B08F-27CD-D000-2F1B-41D5DFEDD24E}"/>
              </a:ext>
            </a:extLst>
          </p:cNvPr>
          <p:cNvSpPr txBox="1"/>
          <p:nvPr/>
        </p:nvSpPr>
        <p:spPr>
          <a:xfrm>
            <a:off x="551384" y="1862161"/>
            <a:ext cx="11089232" cy="39641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spcAft>
                <a:spcPts val="800"/>
              </a:spcAft>
              <a:tabLst>
                <a:tab pos="457200" algn="l"/>
              </a:tabLst>
            </a:pPr>
            <a:r>
              <a:rPr lang="it-IT" b="1" dirty="0"/>
              <a:t>Principi chiave e aspettative di supervisione</a:t>
            </a:r>
            <a:br>
              <a:rPr lang="it-IT" dirty="0"/>
            </a:br>
            <a:r>
              <a:rPr lang="it-IT" dirty="0"/>
              <a:t>EIOPA propone che i regolatori nazionali promuovano / richiedano che le imprese adottino, per gli usi dell’IA, un quadro di governance e gestione del rischio basato su questi elementi:</a:t>
            </a:r>
          </a:p>
          <a:p>
            <a:pPr marL="742950" lvl="1" indent="-285750">
              <a:lnSpc>
                <a:spcPct val="115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it-IT" b="1" dirty="0"/>
              <a:t>Approccio basato sul rischio &amp; proporzionalità</a:t>
            </a:r>
          </a:p>
          <a:p>
            <a:pPr marL="742950" lvl="1" indent="-285750">
              <a:lnSpc>
                <a:spcPct val="115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it-IT" b="1" dirty="0"/>
              <a:t>Governance interna </a:t>
            </a:r>
          </a:p>
          <a:p>
            <a:pPr marL="742950" lvl="1" indent="-285750">
              <a:lnSpc>
                <a:spcPct val="115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it-IT" b="1" dirty="0"/>
              <a:t>Data governance  </a:t>
            </a:r>
          </a:p>
          <a:p>
            <a:pPr marL="742950" lvl="1" indent="-285750">
              <a:lnSpc>
                <a:spcPct val="115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it-IT" b="1" dirty="0"/>
              <a:t>Documentazione / record-keeping </a:t>
            </a:r>
          </a:p>
          <a:p>
            <a:pPr marL="742950" lvl="1" indent="-285750">
              <a:lnSpc>
                <a:spcPct val="115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it-IT" b="1" dirty="0"/>
              <a:t>Trasparenza &amp; </a:t>
            </a:r>
            <a:r>
              <a:rPr lang="it-IT" b="1" dirty="0" err="1"/>
              <a:t>spiegabilità</a:t>
            </a:r>
            <a:r>
              <a:rPr lang="it-IT" b="1" dirty="0"/>
              <a:t> (</a:t>
            </a:r>
            <a:r>
              <a:rPr lang="it-IT" b="1" dirty="0" err="1"/>
              <a:t>explainability</a:t>
            </a:r>
            <a:r>
              <a:rPr lang="it-IT" b="1" dirty="0"/>
              <a:t> </a:t>
            </a:r>
          </a:p>
          <a:p>
            <a:pPr marL="742950" lvl="1" indent="-285750">
              <a:lnSpc>
                <a:spcPct val="115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it-IT" b="1" dirty="0"/>
              <a:t>Supervisione umana / intervento umano </a:t>
            </a:r>
          </a:p>
          <a:p>
            <a:pPr marL="742950" lvl="1" indent="-285750">
              <a:lnSpc>
                <a:spcPct val="115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it-IT" b="1" dirty="0"/>
              <a:t>Cyber sicurezza, robustezza e test del sistema </a:t>
            </a:r>
          </a:p>
        </p:txBody>
      </p:sp>
    </p:spTree>
    <p:extLst>
      <p:ext uri="{BB962C8B-B14F-4D97-AF65-F5344CB8AC3E}">
        <p14:creationId xmlns:p14="http://schemas.microsoft.com/office/powerpoint/2010/main" val="32646308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76D5858-B6D9-5C4D-9519-9AB30410EE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56742" y="2103437"/>
            <a:ext cx="6289849" cy="1325563"/>
          </a:xfrm>
          <a:prstGeom prst="rect">
            <a:avLst/>
          </a:prstGeom>
        </p:spPr>
        <p:txBody>
          <a:bodyPr/>
          <a:lstStyle/>
          <a:p>
            <a:r>
              <a:rPr lang="en-US" dirty="0" err="1"/>
              <a:t>Grazie</a:t>
            </a:r>
            <a:r>
              <a:rPr lang="en-US" dirty="0"/>
              <a:t>!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6A0CC12-702D-8B4C-BE4B-EEFEC437A6F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59496" y="3429000"/>
            <a:ext cx="6768752" cy="1056323"/>
          </a:xfrm>
          <a:prstGeom prst="rect">
            <a:avLst/>
          </a:prstGeom>
        </p:spPr>
        <p:txBody>
          <a:bodyPr/>
          <a:lstStyle/>
          <a:p>
            <a:endParaRPr lang="it-IT" sz="1800" i="1" cap="none" dirty="0"/>
          </a:p>
          <a:p>
            <a:endParaRPr lang="en-US" dirty="0"/>
          </a:p>
        </p:txBody>
      </p:sp>
      <p:sp>
        <p:nvSpPr>
          <p:cNvPr id="4" name="Rettangolo 3">
            <a:extLst>
              <a:ext uri="{FF2B5EF4-FFF2-40B4-BE49-F238E27FC236}">
                <a16:creationId xmlns:a16="http://schemas.microsoft.com/office/drawing/2014/main" id="{3491CBDF-E5AF-7DAD-DA91-3CEB31A0BCF6}"/>
              </a:ext>
            </a:extLst>
          </p:cNvPr>
          <p:cNvSpPr/>
          <p:nvPr/>
        </p:nvSpPr>
        <p:spPr>
          <a:xfrm>
            <a:off x="767408" y="6309320"/>
            <a:ext cx="2088232" cy="43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803239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tangolo 2">
            <a:extLst>
              <a:ext uri="{FF2B5EF4-FFF2-40B4-BE49-F238E27FC236}">
                <a16:creationId xmlns:a16="http://schemas.microsoft.com/office/drawing/2014/main" id="{841C2126-FD0F-9CB9-1E56-2B789067EF63}"/>
              </a:ext>
            </a:extLst>
          </p:cNvPr>
          <p:cNvSpPr/>
          <p:nvPr/>
        </p:nvSpPr>
        <p:spPr>
          <a:xfrm>
            <a:off x="767408" y="6309320"/>
            <a:ext cx="2088232" cy="43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506592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object 44"/>
          <p:cNvSpPr txBox="1"/>
          <p:nvPr/>
        </p:nvSpPr>
        <p:spPr>
          <a:xfrm>
            <a:off x="263352" y="3531099"/>
            <a:ext cx="5713139" cy="1773520"/>
          </a:xfrm>
          <a:prstGeom prst="rect">
            <a:avLst/>
          </a:prstGeom>
        </p:spPr>
        <p:txBody>
          <a:bodyPr vert="horz" wrap="square" lIns="0" tIns="148167" rIns="0" bIns="0" rtlCol="0">
            <a:spAutoFit/>
          </a:bodyPr>
          <a:lstStyle/>
          <a:p>
            <a:pPr marL="90591">
              <a:spcBef>
                <a:spcPts val="1167"/>
              </a:spcBef>
            </a:pPr>
            <a:endParaRPr sz="1467" dirty="0">
              <a:latin typeface="Wingdings"/>
              <a:cs typeface="Wingdings"/>
            </a:endParaRPr>
          </a:p>
          <a:p>
            <a:pPr marL="90591">
              <a:spcBef>
                <a:spcPts val="880"/>
              </a:spcBef>
            </a:pPr>
            <a:endParaRPr sz="1467" dirty="0">
              <a:latin typeface="Wingdings"/>
              <a:cs typeface="Wingdings"/>
            </a:endParaRPr>
          </a:p>
          <a:p>
            <a:pPr marL="90591">
              <a:spcBef>
                <a:spcPts val="880"/>
              </a:spcBef>
            </a:pPr>
            <a:endParaRPr sz="1467" dirty="0">
              <a:latin typeface="Wingdings"/>
              <a:cs typeface="Wingdings"/>
            </a:endParaRPr>
          </a:p>
          <a:p>
            <a:pPr>
              <a:lnSpc>
                <a:spcPct val="100000"/>
              </a:lnSpc>
            </a:pPr>
            <a:endParaRPr sz="1467" dirty="0">
              <a:latin typeface="Wingdings"/>
              <a:cs typeface="Wingdings"/>
            </a:endParaRPr>
          </a:p>
          <a:p>
            <a:pPr>
              <a:spcBef>
                <a:spcPts val="267"/>
              </a:spcBef>
            </a:pPr>
            <a:endParaRPr sz="1467" dirty="0">
              <a:latin typeface="Wingdings"/>
              <a:cs typeface="Wingdings"/>
            </a:endParaRPr>
          </a:p>
          <a:p>
            <a:pPr marL="90591"/>
            <a:endParaRPr sz="1467" dirty="0">
              <a:latin typeface="Wingdings"/>
              <a:cs typeface="Wingdings"/>
            </a:endParaRPr>
          </a:p>
        </p:txBody>
      </p:sp>
      <p:sp>
        <p:nvSpPr>
          <p:cNvPr id="29" name="CasellaDiTesto 28">
            <a:extLst>
              <a:ext uri="{FF2B5EF4-FFF2-40B4-BE49-F238E27FC236}">
                <a16:creationId xmlns:a16="http://schemas.microsoft.com/office/drawing/2014/main" id="{E3512356-8748-B56A-F4D9-E2A744DBF9D0}"/>
              </a:ext>
            </a:extLst>
          </p:cNvPr>
          <p:cNvSpPr txBox="1"/>
          <p:nvPr/>
        </p:nvSpPr>
        <p:spPr>
          <a:xfrm>
            <a:off x="623392" y="201342"/>
            <a:ext cx="10478440" cy="42669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/>
          <a:p>
            <a:pPr marL="114300" marR="0" lvl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AC1938"/>
              </a:buClr>
              <a:buSzTx/>
              <a:tabLst/>
              <a:defRPr/>
            </a:pPr>
            <a:r>
              <a:rPr lang="en-US" sz="2800" b="1" kern="100" cap="all" dirty="0" err="1">
                <a:solidFill>
                  <a:schemeClr val="tx2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niziamo</a:t>
            </a:r>
            <a:r>
              <a:rPr lang="en-US" sz="2800" b="1" kern="100" cap="all" dirty="0">
                <a:solidFill>
                  <a:schemeClr val="tx2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con la </a:t>
            </a:r>
            <a:r>
              <a:rPr lang="en-US" sz="2800" b="1" kern="100" cap="all" dirty="0" err="1">
                <a:solidFill>
                  <a:schemeClr val="tx2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efinizione</a:t>
            </a:r>
            <a:r>
              <a:rPr lang="en-US" sz="2800" b="1" kern="100" cap="all" dirty="0">
                <a:solidFill>
                  <a:schemeClr val="tx2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33" name="CasellaDiTesto 32">
            <a:extLst>
              <a:ext uri="{FF2B5EF4-FFF2-40B4-BE49-F238E27FC236}">
                <a16:creationId xmlns:a16="http://schemas.microsoft.com/office/drawing/2014/main" id="{BD4331C6-7671-1D64-8CF3-8882AE74E6FF}"/>
              </a:ext>
            </a:extLst>
          </p:cNvPr>
          <p:cNvSpPr txBox="1"/>
          <p:nvPr/>
        </p:nvSpPr>
        <p:spPr>
          <a:xfrm>
            <a:off x="263352" y="2132856"/>
            <a:ext cx="11161240" cy="7467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114300" marR="0" lvl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AC1938"/>
              </a:buClr>
              <a:buSzTx/>
              <a:tabLst/>
              <a:defRPr/>
            </a:pPr>
            <a:r>
              <a:rPr lang="en-US" b="1" dirty="0">
                <a:solidFill>
                  <a:srgbClr val="5A5A5A"/>
                </a:solidFill>
                <a:latin typeface="Verdana"/>
              </a:rPr>
              <a:t>Marvin Lee Minsky ha </a:t>
            </a:r>
            <a:r>
              <a:rPr lang="en-US" b="1" dirty="0" err="1">
                <a:solidFill>
                  <a:srgbClr val="5A5A5A"/>
                </a:solidFill>
                <a:latin typeface="Verdana"/>
              </a:rPr>
              <a:t>definito</a:t>
            </a:r>
            <a:r>
              <a:rPr lang="en-US" b="1" dirty="0">
                <a:solidFill>
                  <a:srgbClr val="5A5A5A"/>
                </a:solidFill>
                <a:latin typeface="Verdana"/>
              </a:rPr>
              <a:t> l’ AI : “</a:t>
            </a:r>
            <a:r>
              <a:rPr lang="en-US" sz="1600" b="1" i="1" dirty="0">
                <a:solidFill>
                  <a:srgbClr val="5A5A5A"/>
                </a:solidFill>
                <a:latin typeface="Verdana"/>
              </a:rPr>
              <a:t>the science of making machines do thing that would require intelligence if done by man”</a:t>
            </a:r>
            <a:endParaRPr kumimoji="0" lang="en-US" sz="1600" b="1" i="1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8" name="CasellaDiTesto 37">
            <a:extLst>
              <a:ext uri="{FF2B5EF4-FFF2-40B4-BE49-F238E27FC236}">
                <a16:creationId xmlns:a16="http://schemas.microsoft.com/office/drawing/2014/main" id="{12C21B66-AA0A-BA0F-B93C-66F3AD0F5B85}"/>
              </a:ext>
            </a:extLst>
          </p:cNvPr>
          <p:cNvSpPr txBox="1"/>
          <p:nvPr/>
        </p:nvSpPr>
        <p:spPr>
          <a:xfrm>
            <a:off x="1415480" y="3140966"/>
            <a:ext cx="2376264" cy="3742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114300" marR="0" lvl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AC1938"/>
              </a:buClr>
              <a:buSzTx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raditional AI </a:t>
            </a:r>
          </a:p>
        </p:txBody>
      </p:sp>
      <p:sp>
        <p:nvSpPr>
          <p:cNvPr id="70" name="CasellaDiTesto 69">
            <a:extLst>
              <a:ext uri="{FF2B5EF4-FFF2-40B4-BE49-F238E27FC236}">
                <a16:creationId xmlns:a16="http://schemas.microsoft.com/office/drawing/2014/main" id="{555F4318-BF55-29F2-D04C-90425FA424E1}"/>
              </a:ext>
            </a:extLst>
          </p:cNvPr>
          <p:cNvSpPr txBox="1"/>
          <p:nvPr/>
        </p:nvSpPr>
        <p:spPr>
          <a:xfrm>
            <a:off x="1199456" y="3573016"/>
            <a:ext cx="3528392" cy="5040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114300" marR="0" lvl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AC1938"/>
              </a:buClr>
              <a:buSzTx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nalizza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ati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e fa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evisioni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</a:p>
        </p:txBody>
      </p:sp>
      <p:sp>
        <p:nvSpPr>
          <p:cNvPr id="71" name="CasellaDiTesto 70">
            <a:extLst>
              <a:ext uri="{FF2B5EF4-FFF2-40B4-BE49-F238E27FC236}">
                <a16:creationId xmlns:a16="http://schemas.microsoft.com/office/drawing/2014/main" id="{FE2EB9CB-026E-261B-D46D-9C214157C2A8}"/>
              </a:ext>
            </a:extLst>
          </p:cNvPr>
          <p:cNvSpPr txBox="1"/>
          <p:nvPr/>
        </p:nvSpPr>
        <p:spPr>
          <a:xfrm>
            <a:off x="6851058" y="3573016"/>
            <a:ext cx="4141486" cy="5760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114300" marR="0" lvl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AC1938"/>
              </a:buClr>
              <a:buSzTx/>
              <a:tabLst/>
              <a:defRPr/>
            </a:pPr>
            <a:r>
              <a:rPr lang="en-US" sz="1400" b="1" dirty="0">
                <a:solidFill>
                  <a:srgbClr val="5A5A5A"/>
                </a:solidFill>
                <a:latin typeface="Verdana"/>
              </a:rPr>
              <a:t>GenAI </a:t>
            </a:r>
            <a:r>
              <a:rPr lang="en-US" sz="1400" b="1" dirty="0" err="1">
                <a:solidFill>
                  <a:srgbClr val="5A5A5A"/>
                </a:solidFill>
                <a:latin typeface="Verdana"/>
              </a:rPr>
              <a:t>va</a:t>
            </a:r>
            <a:r>
              <a:rPr lang="en-US" sz="1400" b="1" dirty="0">
                <a:solidFill>
                  <a:srgbClr val="5A5A5A"/>
                </a:solidFill>
                <a:latin typeface="Verdana"/>
              </a:rPr>
              <a:t> </a:t>
            </a:r>
            <a:r>
              <a:rPr lang="en-US" sz="1400" b="1" dirty="0" err="1">
                <a:solidFill>
                  <a:srgbClr val="5A5A5A"/>
                </a:solidFill>
                <a:latin typeface="Verdana"/>
              </a:rPr>
              <a:t>oltre</a:t>
            </a:r>
            <a:r>
              <a:rPr lang="en-US" sz="1400" b="1" dirty="0">
                <a:solidFill>
                  <a:srgbClr val="5A5A5A"/>
                </a:solidFill>
                <a:latin typeface="Verdana"/>
              </a:rPr>
              <a:t>, </a:t>
            </a:r>
            <a:r>
              <a:rPr lang="en-US" sz="1400" b="1" dirty="0" err="1">
                <a:solidFill>
                  <a:srgbClr val="5A5A5A"/>
                </a:solidFill>
                <a:latin typeface="Verdana"/>
              </a:rPr>
              <a:t>poichè</a:t>
            </a:r>
            <a:r>
              <a:rPr lang="en-US" sz="1400" b="1" dirty="0">
                <a:solidFill>
                  <a:srgbClr val="5A5A5A"/>
                </a:solidFill>
                <a:latin typeface="Verdana"/>
              </a:rPr>
              <a:t> </a:t>
            </a:r>
            <a:r>
              <a:rPr lang="en-US" sz="1400" b="1" dirty="0" err="1">
                <a:solidFill>
                  <a:srgbClr val="5A5A5A"/>
                </a:solidFill>
                <a:latin typeface="Verdana"/>
              </a:rPr>
              <a:t>crea</a:t>
            </a:r>
            <a:r>
              <a:rPr lang="en-US" sz="1400" b="1" dirty="0">
                <a:solidFill>
                  <a:srgbClr val="5A5A5A"/>
                </a:solidFill>
                <a:latin typeface="Verdana"/>
              </a:rPr>
              <a:t> </a:t>
            </a:r>
            <a:r>
              <a:rPr lang="en-US" sz="1400" b="1" dirty="0" err="1">
                <a:solidFill>
                  <a:srgbClr val="5A5A5A"/>
                </a:solidFill>
                <a:latin typeface="Verdana"/>
              </a:rPr>
              <a:t>nuovi</a:t>
            </a:r>
            <a:r>
              <a:rPr lang="en-US" sz="1400" b="1" dirty="0">
                <a:solidFill>
                  <a:srgbClr val="5A5A5A"/>
                </a:solidFill>
                <a:latin typeface="Verdana"/>
              </a:rPr>
              <a:t> </a:t>
            </a:r>
            <a:r>
              <a:rPr lang="en-US" sz="1400" b="1" dirty="0" err="1">
                <a:solidFill>
                  <a:srgbClr val="5A5A5A"/>
                </a:solidFill>
                <a:latin typeface="Verdana"/>
              </a:rPr>
              <a:t>dati</a:t>
            </a:r>
            <a:r>
              <a:rPr lang="en-US" sz="1400" b="1" dirty="0">
                <a:solidFill>
                  <a:srgbClr val="5A5A5A"/>
                </a:solidFill>
                <a:latin typeface="Verdana"/>
              </a:rPr>
              <a:t> </a:t>
            </a:r>
          </a:p>
        </p:txBody>
      </p:sp>
      <p:sp>
        <p:nvSpPr>
          <p:cNvPr id="72" name="CasellaDiTesto 71">
            <a:extLst>
              <a:ext uri="{FF2B5EF4-FFF2-40B4-BE49-F238E27FC236}">
                <a16:creationId xmlns:a16="http://schemas.microsoft.com/office/drawing/2014/main" id="{EB113321-BFBB-4B28-B120-14467FFBC4ED}"/>
              </a:ext>
            </a:extLst>
          </p:cNvPr>
          <p:cNvSpPr txBox="1"/>
          <p:nvPr/>
        </p:nvSpPr>
        <p:spPr>
          <a:xfrm>
            <a:off x="7256512" y="3140967"/>
            <a:ext cx="2911275" cy="3323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114300" marR="0" lvl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AC1938"/>
              </a:buClr>
              <a:buSzTx/>
              <a:tabLst/>
              <a:defRPr/>
            </a:pPr>
            <a:r>
              <a:rPr lang="en-US" sz="1600" b="1" dirty="0">
                <a:solidFill>
                  <a:srgbClr val="5A5A5A"/>
                </a:solidFill>
                <a:latin typeface="Verdana"/>
              </a:rPr>
              <a:t>Generative AI </a:t>
            </a:r>
          </a:p>
        </p:txBody>
      </p:sp>
      <p:sp>
        <p:nvSpPr>
          <p:cNvPr id="73" name="CasellaDiTesto 72">
            <a:extLst>
              <a:ext uri="{FF2B5EF4-FFF2-40B4-BE49-F238E27FC236}">
                <a16:creationId xmlns:a16="http://schemas.microsoft.com/office/drawing/2014/main" id="{6CD6ABA0-6C19-A43C-1EA3-49A2DFA58EC8}"/>
              </a:ext>
            </a:extLst>
          </p:cNvPr>
          <p:cNvSpPr txBox="1"/>
          <p:nvPr/>
        </p:nvSpPr>
        <p:spPr>
          <a:xfrm>
            <a:off x="150510" y="4725144"/>
            <a:ext cx="5825981" cy="12961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85750" marR="0" lvl="0" indent="-17145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AC193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no </a:t>
            </a:r>
            <a:r>
              <a:rPr kumimoji="0" lang="en-US" sz="1200" i="0" u="none" strike="noStrike" kern="1200" cap="none" spc="0" normalizeH="0" baseline="0" noProof="0" dirty="0" err="1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odelli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i="0" u="none" strike="noStrike" kern="1200" cap="none" spc="0" normalizeH="0" baseline="0" noProof="0" dirty="0" err="1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generati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i="0" u="none" strike="noStrike" kern="1200" cap="none" spc="0" normalizeH="0" baseline="0" noProof="0" dirty="0" err="1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nternamente</a:t>
            </a:r>
            <a:endParaRPr kumimoji="0" lang="en-US" sz="1200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285750" marR="0" lvl="0" indent="-17145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AC193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 err="1">
                <a:solidFill>
                  <a:srgbClr val="5A5A5A"/>
                </a:solidFill>
                <a:latin typeface="Verdana"/>
              </a:rPr>
              <a:t>Possono</a:t>
            </a:r>
            <a:r>
              <a:rPr lang="en-US" sz="1200" dirty="0">
                <a:solidFill>
                  <a:srgbClr val="5A5A5A"/>
                </a:solidFill>
                <a:latin typeface="Verdana"/>
              </a:rPr>
              <a:t> </a:t>
            </a:r>
            <a:r>
              <a:rPr lang="en-US" sz="1200" dirty="0" err="1">
                <a:solidFill>
                  <a:srgbClr val="5A5A5A"/>
                </a:solidFill>
                <a:latin typeface="Verdana"/>
              </a:rPr>
              <a:t>essere</a:t>
            </a:r>
            <a:r>
              <a:rPr lang="en-US" sz="1200" dirty="0">
                <a:solidFill>
                  <a:srgbClr val="5A5A5A"/>
                </a:solidFill>
                <a:latin typeface="Verdana"/>
              </a:rPr>
              <a:t> </a:t>
            </a:r>
            <a:r>
              <a:rPr lang="en-US" sz="1200" dirty="0" err="1">
                <a:solidFill>
                  <a:srgbClr val="5A5A5A"/>
                </a:solidFill>
                <a:latin typeface="Verdana"/>
              </a:rPr>
              <a:t>modificati</a:t>
            </a:r>
            <a:r>
              <a:rPr lang="en-US" sz="1200" dirty="0">
                <a:solidFill>
                  <a:srgbClr val="5A5A5A"/>
                </a:solidFill>
                <a:latin typeface="Verdana"/>
              </a:rPr>
              <a:t> </a:t>
            </a:r>
            <a:r>
              <a:rPr lang="en-US" sz="1200" dirty="0" err="1">
                <a:solidFill>
                  <a:srgbClr val="5A5A5A"/>
                </a:solidFill>
                <a:latin typeface="Verdana"/>
              </a:rPr>
              <a:t>autonomante</a:t>
            </a:r>
            <a:endParaRPr lang="en-US" sz="1200" dirty="0">
              <a:solidFill>
                <a:srgbClr val="5A5A5A"/>
              </a:solidFill>
              <a:latin typeface="Verdana"/>
            </a:endParaRPr>
          </a:p>
          <a:p>
            <a:pPr marL="285750" marR="0" lvl="0" indent="-17145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AC193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anno un </a:t>
            </a:r>
            <a:r>
              <a:rPr kumimoji="0" lang="en-US" sz="1200" i="0" u="none" strike="noStrike" kern="1200" cap="none" spc="0" normalizeH="0" baseline="0" noProof="0" dirty="0" err="1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evato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i="0" u="none" strike="noStrike" kern="1200" cap="none" spc="0" normalizeH="0" baseline="0" noProof="0" dirty="0" err="1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ivello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di </a:t>
            </a:r>
            <a:r>
              <a:rPr kumimoji="0" lang="en-US" sz="1200" i="1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xplainability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e </a:t>
            </a:r>
            <a:r>
              <a:rPr kumimoji="0" lang="en-US" sz="1200" i="0" u="none" strike="noStrike" kern="1200" cap="none" spc="0" normalizeH="0" baseline="0" noProof="0" dirty="0" err="1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ossibilità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di </a:t>
            </a:r>
            <a:r>
              <a:rPr kumimoji="0" lang="en-US" sz="1200" i="0" u="none" strike="noStrike" kern="1200" cap="none" spc="0" normalizeH="0" baseline="0" noProof="0" dirty="0" err="1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isurare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i="0" u="none" strike="noStrike" kern="1200" cap="none" spc="0" normalizeH="0" baseline="0" noProof="0" dirty="0" err="1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i="1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ias 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el </a:t>
            </a:r>
            <a:r>
              <a:rPr kumimoji="0" lang="en-US" sz="1200" i="0" u="none" strike="noStrike" kern="1200" cap="none" spc="0" normalizeH="0" baseline="0" noProof="0" dirty="0" err="1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odello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</a:p>
          <a:p>
            <a:pPr marL="114300" marR="0" lvl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AC1938"/>
              </a:buClr>
              <a:buSzTx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114300" marR="0" lvl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AC1938"/>
              </a:buClr>
              <a:buSzTx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" name="CasellaDiTesto 73">
            <a:extLst>
              <a:ext uri="{FF2B5EF4-FFF2-40B4-BE49-F238E27FC236}">
                <a16:creationId xmlns:a16="http://schemas.microsoft.com/office/drawing/2014/main" id="{40CA5CEF-7AE4-8A7A-6B8E-12D0BC65405A}"/>
              </a:ext>
            </a:extLst>
          </p:cNvPr>
          <p:cNvSpPr txBox="1"/>
          <p:nvPr/>
        </p:nvSpPr>
        <p:spPr>
          <a:xfrm>
            <a:off x="6600056" y="4653136"/>
            <a:ext cx="5459370" cy="13681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85750" marR="0" lvl="0" indent="-17145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AC193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solidFill>
                  <a:srgbClr val="5A5A5A"/>
                </a:solidFill>
                <a:latin typeface="Verdana"/>
              </a:rPr>
              <a:t>Sono </a:t>
            </a:r>
            <a:r>
              <a:rPr lang="en-US" sz="1200" dirty="0" err="1">
                <a:solidFill>
                  <a:srgbClr val="5A5A5A"/>
                </a:solidFill>
                <a:latin typeface="Verdana"/>
              </a:rPr>
              <a:t>modelli</a:t>
            </a:r>
            <a:r>
              <a:rPr lang="en-US" sz="1200" dirty="0">
                <a:solidFill>
                  <a:srgbClr val="5A5A5A"/>
                </a:solidFill>
                <a:latin typeface="Verdana"/>
              </a:rPr>
              <a:t> </a:t>
            </a:r>
            <a:r>
              <a:rPr lang="en-US" sz="1200" dirty="0" err="1">
                <a:solidFill>
                  <a:srgbClr val="5A5A5A"/>
                </a:solidFill>
                <a:latin typeface="Verdana"/>
              </a:rPr>
              <a:t>costruiti</a:t>
            </a:r>
            <a:r>
              <a:rPr lang="en-US" sz="1200" dirty="0">
                <a:solidFill>
                  <a:srgbClr val="5A5A5A"/>
                </a:solidFill>
                <a:latin typeface="Verdana"/>
              </a:rPr>
              <a:t> da </a:t>
            </a:r>
            <a:r>
              <a:rPr lang="en-US" sz="1200" dirty="0" err="1">
                <a:solidFill>
                  <a:srgbClr val="5A5A5A"/>
                </a:solidFill>
                <a:latin typeface="Verdana"/>
              </a:rPr>
              <a:t>altri</a:t>
            </a:r>
            <a:endParaRPr lang="en-US" sz="1200" dirty="0">
              <a:solidFill>
                <a:srgbClr val="5A5A5A"/>
              </a:solidFill>
              <a:latin typeface="Verdana"/>
            </a:endParaRPr>
          </a:p>
          <a:p>
            <a:pPr marL="285750" marR="0" lvl="0" indent="-17145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AC193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solidFill>
                  <a:srgbClr val="5A5A5A"/>
                </a:solidFill>
                <a:latin typeface="Verdana"/>
              </a:rPr>
              <a:t>Non </a:t>
            </a:r>
            <a:r>
              <a:rPr lang="en-US" sz="1200" dirty="0" err="1">
                <a:solidFill>
                  <a:srgbClr val="5A5A5A"/>
                </a:solidFill>
                <a:latin typeface="Verdana"/>
              </a:rPr>
              <a:t>possono</a:t>
            </a:r>
            <a:r>
              <a:rPr lang="en-US" sz="1200" dirty="0">
                <a:solidFill>
                  <a:srgbClr val="5A5A5A"/>
                </a:solidFill>
                <a:latin typeface="Verdana"/>
              </a:rPr>
              <a:t> </a:t>
            </a:r>
            <a:r>
              <a:rPr lang="en-US" sz="1200" dirty="0" err="1">
                <a:solidFill>
                  <a:srgbClr val="5A5A5A"/>
                </a:solidFill>
                <a:latin typeface="Verdana"/>
              </a:rPr>
              <a:t>essere</a:t>
            </a:r>
            <a:r>
              <a:rPr lang="en-US" sz="1200" dirty="0">
                <a:solidFill>
                  <a:srgbClr val="5A5A5A"/>
                </a:solidFill>
                <a:latin typeface="Verdana"/>
              </a:rPr>
              <a:t> </a:t>
            </a:r>
            <a:r>
              <a:rPr lang="en-US" sz="1200" dirty="0" err="1">
                <a:solidFill>
                  <a:srgbClr val="5A5A5A"/>
                </a:solidFill>
                <a:latin typeface="Verdana"/>
              </a:rPr>
              <a:t>modificati</a:t>
            </a:r>
            <a:r>
              <a:rPr lang="en-US" sz="1200" dirty="0">
                <a:solidFill>
                  <a:srgbClr val="5A5A5A"/>
                </a:solidFill>
                <a:latin typeface="Verdana"/>
              </a:rPr>
              <a:t> </a:t>
            </a:r>
            <a:r>
              <a:rPr lang="en-US" sz="1200" dirty="0" err="1">
                <a:solidFill>
                  <a:srgbClr val="5A5A5A"/>
                </a:solidFill>
                <a:latin typeface="Verdana"/>
              </a:rPr>
              <a:t>internamente</a:t>
            </a:r>
            <a:endParaRPr lang="en-US" sz="1200" dirty="0">
              <a:solidFill>
                <a:srgbClr val="5A5A5A"/>
              </a:solidFill>
              <a:latin typeface="Verdana"/>
            </a:endParaRPr>
          </a:p>
          <a:p>
            <a:pPr marL="285750" marR="0" lvl="0" indent="-17145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AC193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solidFill>
                  <a:srgbClr val="5A5A5A"/>
                </a:solidFill>
                <a:latin typeface="Verdana"/>
              </a:rPr>
              <a:t>Ad </a:t>
            </a:r>
            <a:r>
              <a:rPr lang="en-US" sz="1200" dirty="0" err="1">
                <a:solidFill>
                  <a:srgbClr val="5A5A5A"/>
                </a:solidFill>
                <a:latin typeface="Verdana"/>
              </a:rPr>
              <a:t>oggi</a:t>
            </a:r>
            <a:r>
              <a:rPr lang="en-US" sz="1200" dirty="0">
                <a:solidFill>
                  <a:srgbClr val="5A5A5A"/>
                </a:solidFill>
                <a:latin typeface="Verdana"/>
              </a:rPr>
              <a:t> </a:t>
            </a:r>
            <a:r>
              <a:rPr lang="en-US" sz="1200" dirty="0" err="1">
                <a:solidFill>
                  <a:srgbClr val="5A5A5A"/>
                </a:solidFill>
                <a:latin typeface="Verdana"/>
              </a:rPr>
              <a:t>hanno</a:t>
            </a:r>
            <a:r>
              <a:rPr lang="en-US" sz="1200" dirty="0">
                <a:solidFill>
                  <a:srgbClr val="5A5A5A"/>
                </a:solidFill>
                <a:latin typeface="Verdana"/>
              </a:rPr>
              <a:t> </a:t>
            </a:r>
            <a:r>
              <a:rPr lang="en-US" sz="1200" dirty="0" err="1">
                <a:solidFill>
                  <a:srgbClr val="5A5A5A"/>
                </a:solidFill>
                <a:latin typeface="Verdana"/>
              </a:rPr>
              <a:t>una</a:t>
            </a:r>
            <a:r>
              <a:rPr lang="en-US" sz="1200" dirty="0">
                <a:solidFill>
                  <a:srgbClr val="5A5A5A"/>
                </a:solidFill>
                <a:latin typeface="Verdana"/>
              </a:rPr>
              <a:t> </a:t>
            </a:r>
            <a:r>
              <a:rPr lang="en-US" sz="1200" dirty="0" err="1">
                <a:solidFill>
                  <a:srgbClr val="5A5A5A"/>
                </a:solidFill>
                <a:latin typeface="Verdana"/>
              </a:rPr>
              <a:t>limitata</a:t>
            </a:r>
            <a:r>
              <a:rPr lang="en-US" sz="1200" dirty="0">
                <a:solidFill>
                  <a:srgbClr val="5A5A5A"/>
                </a:solidFill>
                <a:latin typeface="Verdana"/>
              </a:rPr>
              <a:t> </a:t>
            </a:r>
            <a:r>
              <a:rPr lang="en-US" sz="1200" dirty="0" err="1">
                <a:solidFill>
                  <a:srgbClr val="5A5A5A"/>
                </a:solidFill>
                <a:latin typeface="Verdana"/>
              </a:rPr>
              <a:t>possibilità</a:t>
            </a:r>
            <a:r>
              <a:rPr lang="en-US" sz="1200" dirty="0">
                <a:solidFill>
                  <a:srgbClr val="5A5A5A"/>
                </a:solidFill>
                <a:latin typeface="Verdana"/>
              </a:rPr>
              <a:t> di </a:t>
            </a:r>
            <a:r>
              <a:rPr lang="en-US" sz="1200" i="1" dirty="0">
                <a:solidFill>
                  <a:srgbClr val="5A5A5A"/>
                </a:solidFill>
                <a:latin typeface="Verdana"/>
              </a:rPr>
              <a:t>explainability</a:t>
            </a:r>
          </a:p>
          <a:p>
            <a:pPr marL="285750" marR="0" lvl="0" indent="-17145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AC193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solidFill>
                  <a:srgbClr val="5A5A5A"/>
                </a:solidFill>
                <a:latin typeface="Verdana"/>
              </a:rPr>
              <a:t>Il </a:t>
            </a:r>
            <a:r>
              <a:rPr lang="en-US" sz="1200" dirty="0" err="1">
                <a:solidFill>
                  <a:srgbClr val="5A5A5A"/>
                </a:solidFill>
                <a:latin typeface="Verdana"/>
              </a:rPr>
              <a:t>risultato</a:t>
            </a:r>
            <a:r>
              <a:rPr lang="en-US" sz="1200" dirty="0">
                <a:solidFill>
                  <a:srgbClr val="5A5A5A"/>
                </a:solidFill>
                <a:latin typeface="Verdana"/>
              </a:rPr>
              <a:t> </a:t>
            </a:r>
            <a:r>
              <a:rPr lang="en-US" sz="1200" dirty="0" err="1">
                <a:solidFill>
                  <a:srgbClr val="5A5A5A"/>
                </a:solidFill>
                <a:latin typeface="Verdana"/>
              </a:rPr>
              <a:t>deve</a:t>
            </a:r>
            <a:r>
              <a:rPr lang="en-US" sz="1200" dirty="0">
                <a:solidFill>
                  <a:srgbClr val="5A5A5A"/>
                </a:solidFill>
                <a:latin typeface="Verdana"/>
              </a:rPr>
              <a:t> </a:t>
            </a:r>
            <a:r>
              <a:rPr lang="en-US" sz="1200" dirty="0" err="1">
                <a:solidFill>
                  <a:srgbClr val="5A5A5A"/>
                </a:solidFill>
                <a:latin typeface="Verdana"/>
              </a:rPr>
              <a:t>essere</a:t>
            </a:r>
            <a:r>
              <a:rPr lang="en-US" sz="1200" dirty="0">
                <a:solidFill>
                  <a:srgbClr val="5A5A5A"/>
                </a:solidFill>
                <a:latin typeface="Verdana"/>
              </a:rPr>
              <a:t> </a:t>
            </a:r>
            <a:r>
              <a:rPr lang="en-US" sz="1200" dirty="0" err="1">
                <a:solidFill>
                  <a:srgbClr val="5A5A5A"/>
                </a:solidFill>
                <a:latin typeface="Verdana"/>
              </a:rPr>
              <a:t>supervizonato</a:t>
            </a:r>
            <a:r>
              <a:rPr lang="en-US" sz="1200" dirty="0">
                <a:solidFill>
                  <a:srgbClr val="5A5A5A"/>
                </a:solidFill>
                <a:latin typeface="Verdana"/>
              </a:rPr>
              <a:t> </a:t>
            </a:r>
            <a:r>
              <a:rPr lang="en-US" sz="1200" dirty="0" err="1">
                <a:solidFill>
                  <a:srgbClr val="5A5A5A"/>
                </a:solidFill>
                <a:latin typeface="Verdana"/>
              </a:rPr>
              <a:t>dall’uomo</a:t>
            </a:r>
            <a:r>
              <a:rPr lang="en-US" sz="1200" dirty="0">
                <a:solidFill>
                  <a:srgbClr val="5A5A5A"/>
                </a:solidFill>
                <a:latin typeface="Verdana"/>
              </a:rPr>
              <a:t> </a:t>
            </a:r>
          </a:p>
        </p:txBody>
      </p:sp>
      <p:sp>
        <p:nvSpPr>
          <p:cNvPr id="75" name="CasellaDiTesto 74">
            <a:extLst>
              <a:ext uri="{FF2B5EF4-FFF2-40B4-BE49-F238E27FC236}">
                <a16:creationId xmlns:a16="http://schemas.microsoft.com/office/drawing/2014/main" id="{3347F570-0747-06CE-5613-688993B6D3B4}"/>
              </a:ext>
            </a:extLst>
          </p:cNvPr>
          <p:cNvSpPr txBox="1"/>
          <p:nvPr/>
        </p:nvSpPr>
        <p:spPr>
          <a:xfrm>
            <a:off x="551384" y="4335011"/>
            <a:ext cx="5544616" cy="318125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/>
          <a:p>
            <a:pPr marL="114300" marR="0" lvl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AC1938"/>
              </a:buClr>
              <a:buSzTx/>
              <a:tabLst/>
              <a:defRPr/>
            </a:pPr>
            <a:r>
              <a:rPr lang="en-US" sz="1200" b="1" dirty="0" err="1">
                <a:solidFill>
                  <a:srgbClr val="5A5A5A"/>
                </a:solidFill>
                <a:latin typeface="Verdana"/>
              </a:rPr>
              <a:t>Tuttavia</a:t>
            </a:r>
            <a:r>
              <a:rPr lang="en-US" sz="1200" b="1" dirty="0">
                <a:solidFill>
                  <a:srgbClr val="5A5A5A"/>
                </a:solidFill>
                <a:latin typeface="Verdana"/>
              </a:rPr>
              <a:t> </a:t>
            </a:r>
            <a:r>
              <a:rPr lang="en-US" sz="1200" b="1" dirty="0" err="1">
                <a:solidFill>
                  <a:srgbClr val="5A5A5A"/>
                </a:solidFill>
                <a:latin typeface="Verdana"/>
              </a:rPr>
              <a:t>bisogna</a:t>
            </a:r>
            <a:r>
              <a:rPr lang="en-US" sz="1200" b="1" dirty="0">
                <a:solidFill>
                  <a:srgbClr val="5A5A5A"/>
                </a:solidFill>
                <a:latin typeface="Verdana"/>
              </a:rPr>
              <a:t> </a:t>
            </a:r>
            <a:r>
              <a:rPr lang="en-US" sz="1200" b="1" dirty="0" err="1">
                <a:solidFill>
                  <a:srgbClr val="5A5A5A"/>
                </a:solidFill>
                <a:latin typeface="Verdana"/>
              </a:rPr>
              <a:t>considerare</a:t>
            </a:r>
            <a:r>
              <a:rPr lang="en-US" sz="1200" b="1" dirty="0">
                <a:solidFill>
                  <a:srgbClr val="5A5A5A"/>
                </a:solidFill>
                <a:latin typeface="Verdana"/>
              </a:rPr>
              <a:t> </a:t>
            </a:r>
            <a:r>
              <a:rPr lang="en-US" sz="1200" b="1" dirty="0" err="1">
                <a:solidFill>
                  <a:srgbClr val="5A5A5A"/>
                </a:solidFill>
                <a:latin typeface="Verdana"/>
              </a:rPr>
              <a:t>che</a:t>
            </a:r>
            <a:r>
              <a:rPr lang="en-US" sz="1200" b="1" dirty="0">
                <a:solidFill>
                  <a:srgbClr val="5A5A5A"/>
                </a:solidFill>
                <a:latin typeface="Verdana"/>
              </a:rPr>
              <a:t>, </a:t>
            </a:r>
            <a:r>
              <a:rPr lang="en-US" sz="1200" b="1" dirty="0" err="1">
                <a:solidFill>
                  <a:srgbClr val="5A5A5A"/>
                </a:solidFill>
                <a:latin typeface="Verdana"/>
              </a:rPr>
              <a:t>nella</a:t>
            </a:r>
            <a:r>
              <a:rPr lang="en-US" sz="1200" b="1" dirty="0">
                <a:solidFill>
                  <a:srgbClr val="5A5A5A"/>
                </a:solidFill>
                <a:latin typeface="Verdana"/>
              </a:rPr>
              <a:t> </a:t>
            </a:r>
            <a:r>
              <a:rPr lang="en-US" sz="1200" b="1" dirty="0" err="1">
                <a:solidFill>
                  <a:srgbClr val="5A5A5A"/>
                </a:solidFill>
                <a:latin typeface="Verdana"/>
              </a:rPr>
              <a:t>maggioranza</a:t>
            </a:r>
            <a:r>
              <a:rPr lang="en-US" sz="1200" b="1" dirty="0">
                <a:solidFill>
                  <a:srgbClr val="5A5A5A"/>
                </a:solidFill>
                <a:latin typeface="Verdana"/>
              </a:rPr>
              <a:t> </a:t>
            </a:r>
            <a:r>
              <a:rPr lang="en-US" sz="1200" b="1" dirty="0" err="1">
                <a:solidFill>
                  <a:srgbClr val="5A5A5A"/>
                </a:solidFill>
                <a:latin typeface="Verdana"/>
              </a:rPr>
              <a:t>dei</a:t>
            </a:r>
            <a:r>
              <a:rPr lang="en-US" sz="1200" b="1" dirty="0">
                <a:solidFill>
                  <a:srgbClr val="5A5A5A"/>
                </a:solidFill>
                <a:latin typeface="Verdana"/>
              </a:rPr>
              <a:t> </a:t>
            </a:r>
            <a:r>
              <a:rPr lang="en-US" sz="1200" b="1" dirty="0" err="1">
                <a:solidFill>
                  <a:srgbClr val="5A5A5A"/>
                </a:solidFill>
                <a:latin typeface="Verdana"/>
              </a:rPr>
              <a:t>casi</a:t>
            </a:r>
            <a:r>
              <a:rPr lang="en-US" sz="1200" b="1" dirty="0">
                <a:solidFill>
                  <a:srgbClr val="5A5A5A"/>
                </a:solidFill>
                <a:latin typeface="Verdana"/>
              </a:rPr>
              <a:t>: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0870C46E-E08D-5175-50A1-8BCE5F99E8DC}"/>
              </a:ext>
            </a:extLst>
          </p:cNvPr>
          <p:cNvSpPr txBox="1"/>
          <p:nvPr/>
        </p:nvSpPr>
        <p:spPr>
          <a:xfrm>
            <a:off x="263352" y="766907"/>
            <a:ext cx="11161240" cy="1104598"/>
          </a:xfrm>
          <a:prstGeom prst="rect">
            <a:avLst/>
          </a:prstGeom>
        </p:spPr>
        <p:txBody>
          <a:bodyPr vert="horz" lIns="91440" tIns="45720" rIns="91440" bIns="45720" rtlCol="0">
            <a:normAutofit fontScale="77500" lnSpcReduction="20000"/>
          </a:bodyPr>
          <a:lstStyle/>
          <a:p>
            <a:pPr marL="114300" lvl="0">
              <a:lnSpc>
                <a:spcPct val="90000"/>
              </a:lnSpc>
              <a:spcBef>
                <a:spcPts val="600"/>
              </a:spcBef>
              <a:buClr>
                <a:srgbClr val="AC1938"/>
              </a:buClr>
              <a:defRPr/>
            </a:pPr>
            <a:r>
              <a:rPr lang="en-US" dirty="0">
                <a:solidFill>
                  <a:srgbClr val="5A5A5A"/>
                </a:solidFill>
                <a:latin typeface="Verdana"/>
              </a:rPr>
              <a:t> </a:t>
            </a:r>
            <a:r>
              <a:rPr lang="it-IT" sz="2600" b="1" i="1" dirty="0">
                <a:solidFill>
                  <a:srgbClr val="5A5A5A"/>
                </a:solidFill>
                <a:latin typeface="Verdana"/>
              </a:rPr>
              <a:t>«sistema di IA»: </a:t>
            </a:r>
            <a:r>
              <a:rPr lang="it-IT" sz="2300" b="1" i="1" dirty="0">
                <a:solidFill>
                  <a:srgbClr val="5A5A5A"/>
                </a:solidFill>
                <a:latin typeface="Verdana"/>
              </a:rPr>
              <a:t>un sistema automatizzato progettato per funzionare con livelli di autonomia variabili e che può presentare adattabilità dopo la diffusione e che, per obiettivi espliciti o impliciti, deduce dall'input che riceve come generare output quali previsioni, contenuti, raccomandazioni o decisioni che possono influenzare ambienti fisici o virtuali </a:t>
            </a:r>
            <a:r>
              <a:rPr lang="it-IT" sz="1600" dirty="0">
                <a:solidFill>
                  <a:srgbClr val="5A5A5A"/>
                </a:solidFill>
                <a:latin typeface="Verdana"/>
              </a:rPr>
              <a:t>(</a:t>
            </a:r>
            <a:r>
              <a:rPr lang="it-IT" sz="1300" dirty="0">
                <a:solidFill>
                  <a:srgbClr val="5A5A5A"/>
                </a:solidFill>
                <a:latin typeface="Verdana"/>
              </a:rPr>
              <a:t>art 3 del Regolamento UE 2024/1689</a:t>
            </a:r>
            <a:r>
              <a:rPr lang="it-IT" sz="1600" dirty="0">
                <a:solidFill>
                  <a:srgbClr val="5A5A5A"/>
                </a:solidFill>
                <a:latin typeface="Verdana"/>
              </a:rPr>
              <a:t>)</a:t>
            </a:r>
            <a:endParaRPr lang="en-US" sz="1600" dirty="0">
              <a:solidFill>
                <a:srgbClr val="5A5A5A"/>
              </a:solidFill>
              <a:latin typeface="Verdana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405345" y="1535760"/>
            <a:ext cx="11327041" cy="4815510"/>
            <a:chOff x="405345" y="1535760"/>
            <a:chExt cx="11327041" cy="4815510"/>
          </a:xfrm>
        </p:grpSpPr>
        <p:sp>
          <p:nvSpPr>
            <p:cNvPr id="3" name="object 3"/>
            <p:cNvSpPr/>
            <p:nvPr/>
          </p:nvSpPr>
          <p:spPr>
            <a:xfrm>
              <a:off x="5666866" y="5004815"/>
              <a:ext cx="6065520" cy="1146810"/>
            </a:xfrm>
            <a:custGeom>
              <a:avLst/>
              <a:gdLst/>
              <a:ahLst/>
              <a:cxnLst/>
              <a:rect l="l" t="t" r="r" b="b"/>
              <a:pathLst>
                <a:path w="6065520" h="1146810">
                  <a:moveTo>
                    <a:pt x="6065266" y="0"/>
                  </a:moveTo>
                  <a:lnTo>
                    <a:pt x="0" y="0"/>
                  </a:lnTo>
                  <a:lnTo>
                    <a:pt x="0" y="1146771"/>
                  </a:lnTo>
                  <a:lnTo>
                    <a:pt x="6065266" y="1146771"/>
                  </a:lnTo>
                  <a:lnTo>
                    <a:pt x="6065266" y="0"/>
                  </a:lnTo>
                  <a:close/>
                </a:path>
              </a:pathLst>
            </a:custGeom>
            <a:solidFill>
              <a:srgbClr val="002C7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5666866" y="3668115"/>
              <a:ext cx="6065520" cy="1241425"/>
            </a:xfrm>
            <a:custGeom>
              <a:avLst/>
              <a:gdLst/>
              <a:ahLst/>
              <a:cxnLst/>
              <a:rect l="l" t="t" r="r" b="b"/>
              <a:pathLst>
                <a:path w="6065520" h="1241425">
                  <a:moveTo>
                    <a:pt x="6065266" y="0"/>
                  </a:moveTo>
                  <a:lnTo>
                    <a:pt x="0" y="0"/>
                  </a:lnTo>
                  <a:lnTo>
                    <a:pt x="0" y="1240815"/>
                  </a:lnTo>
                  <a:lnTo>
                    <a:pt x="6065266" y="1240815"/>
                  </a:lnTo>
                  <a:lnTo>
                    <a:pt x="6065266" y="0"/>
                  </a:lnTo>
                  <a:close/>
                </a:path>
              </a:pathLst>
            </a:custGeom>
            <a:solidFill>
              <a:srgbClr val="136B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5666866" y="2669959"/>
              <a:ext cx="6065520" cy="904875"/>
            </a:xfrm>
            <a:custGeom>
              <a:avLst/>
              <a:gdLst/>
              <a:ahLst/>
              <a:cxnLst/>
              <a:rect l="l" t="t" r="r" b="b"/>
              <a:pathLst>
                <a:path w="6065520" h="904875">
                  <a:moveTo>
                    <a:pt x="6065266" y="0"/>
                  </a:moveTo>
                  <a:lnTo>
                    <a:pt x="0" y="0"/>
                  </a:lnTo>
                  <a:lnTo>
                    <a:pt x="0" y="904836"/>
                  </a:lnTo>
                  <a:lnTo>
                    <a:pt x="6065266" y="904836"/>
                  </a:lnTo>
                  <a:lnTo>
                    <a:pt x="6065266" y="0"/>
                  </a:lnTo>
                  <a:close/>
                </a:path>
              </a:pathLst>
            </a:custGeom>
            <a:solidFill>
              <a:srgbClr val="629C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5666866" y="1535760"/>
              <a:ext cx="6065520" cy="1030605"/>
            </a:xfrm>
            <a:custGeom>
              <a:avLst/>
              <a:gdLst/>
              <a:ahLst/>
              <a:cxnLst/>
              <a:rect l="l" t="t" r="r" b="b"/>
              <a:pathLst>
                <a:path w="6065520" h="1030605">
                  <a:moveTo>
                    <a:pt x="6065266" y="0"/>
                  </a:moveTo>
                  <a:lnTo>
                    <a:pt x="0" y="0"/>
                  </a:lnTo>
                  <a:lnTo>
                    <a:pt x="0" y="1030528"/>
                  </a:lnTo>
                  <a:lnTo>
                    <a:pt x="6065266" y="1030528"/>
                  </a:lnTo>
                  <a:lnTo>
                    <a:pt x="6065266" y="0"/>
                  </a:lnTo>
                  <a:close/>
                </a:path>
              </a:pathLst>
            </a:custGeom>
            <a:solidFill>
              <a:srgbClr val="B0CE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7" name="object 7"/>
            <p:cNvPicPr/>
            <p:nvPr/>
          </p:nvPicPr>
          <p:blipFill>
            <a:blip r:embed="rId2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colorTemperature colorTemp="72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405345" y="2041906"/>
              <a:ext cx="5261521" cy="4309364"/>
            </a:xfrm>
            <a:prstGeom prst="rect">
              <a:avLst/>
            </a:prstGeom>
          </p:spPr>
        </p:pic>
      </p:grpSp>
      <p:sp>
        <p:nvSpPr>
          <p:cNvPr id="8" name="object 8"/>
          <p:cNvSpPr txBox="1">
            <a:spLocks noGrp="1"/>
          </p:cNvSpPr>
          <p:nvPr>
            <p:ph type="title"/>
          </p:nvPr>
        </p:nvSpPr>
        <p:spPr>
          <a:xfrm>
            <a:off x="444500" y="309118"/>
            <a:ext cx="9820714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800" cap="all" dirty="0">
                <a:solidFill>
                  <a:schemeClr val="tx2"/>
                </a:solidFill>
                <a:latin typeface="Verdana" panose="020B0604030504040204" pitchFamily="34" charset="0"/>
                <a:cs typeface="+mj-cs"/>
              </a:rPr>
              <a:t>GENAI </a:t>
            </a:r>
            <a:r>
              <a:rPr lang="it-IT" sz="2800" cap="all" dirty="0">
                <a:solidFill>
                  <a:schemeClr val="tx2"/>
                </a:solidFill>
                <a:latin typeface="Verdana" panose="020B0604030504040204" pitchFamily="34" charset="0"/>
                <a:cs typeface="+mj-cs"/>
              </a:rPr>
              <a:t>come una </a:t>
            </a:r>
            <a:r>
              <a:rPr sz="2800" cap="all" dirty="0">
                <a:solidFill>
                  <a:schemeClr val="tx2"/>
                </a:solidFill>
                <a:latin typeface="Verdana" panose="020B0604030504040204" pitchFamily="34" charset="0"/>
                <a:cs typeface="+mj-cs"/>
              </a:rPr>
              <a:t>SUB-DISCIPLIN</a:t>
            </a:r>
            <a:r>
              <a:rPr lang="it-IT" sz="2800" cap="all" dirty="0">
                <a:solidFill>
                  <a:schemeClr val="tx2"/>
                </a:solidFill>
                <a:latin typeface="Verdana" panose="020B0604030504040204" pitchFamily="34" charset="0"/>
                <a:cs typeface="+mj-cs"/>
              </a:rPr>
              <a:t>a</a:t>
            </a:r>
            <a:r>
              <a:rPr sz="2800" cap="all" dirty="0">
                <a:solidFill>
                  <a:schemeClr val="tx2"/>
                </a:solidFill>
                <a:latin typeface="Verdana" panose="020B0604030504040204" pitchFamily="34" charset="0"/>
                <a:cs typeface="+mj-cs"/>
              </a:rPr>
              <a:t> </a:t>
            </a:r>
            <a:r>
              <a:rPr lang="it-IT" sz="2800" cap="all" dirty="0">
                <a:solidFill>
                  <a:schemeClr val="tx2"/>
                </a:solidFill>
                <a:latin typeface="Verdana" panose="020B0604030504040204" pitchFamily="34" charset="0"/>
                <a:cs typeface="+mj-cs"/>
              </a:rPr>
              <a:t>dell’</a:t>
            </a:r>
            <a:r>
              <a:rPr sz="2800" cap="all" dirty="0">
                <a:solidFill>
                  <a:schemeClr val="tx2"/>
                </a:solidFill>
                <a:latin typeface="Verdana" panose="020B0604030504040204" pitchFamily="34" charset="0"/>
                <a:cs typeface="+mj-cs"/>
              </a:rPr>
              <a:t> AI</a:t>
            </a:r>
          </a:p>
        </p:txBody>
      </p:sp>
      <p:sp>
        <p:nvSpPr>
          <p:cNvPr id="9" name="object 9"/>
          <p:cNvSpPr txBox="1"/>
          <p:nvPr/>
        </p:nvSpPr>
        <p:spPr>
          <a:xfrm>
            <a:off x="1595755" y="2386076"/>
            <a:ext cx="193167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solidFill>
                  <a:srgbClr val="FFFFFF"/>
                </a:solidFill>
                <a:latin typeface="Calibri"/>
                <a:cs typeface="Calibri"/>
              </a:rPr>
              <a:t>Artificial</a:t>
            </a:r>
            <a:r>
              <a:rPr sz="1800" spc="-2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800" spc="-10" dirty="0">
                <a:solidFill>
                  <a:srgbClr val="FFFFFF"/>
                </a:solidFill>
                <a:latin typeface="Calibri"/>
                <a:cs typeface="Calibri"/>
              </a:rPr>
              <a:t>Intelligence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1948942" y="3199257"/>
            <a:ext cx="1688464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solidFill>
                  <a:srgbClr val="FFFFFF"/>
                </a:solidFill>
                <a:latin typeface="Calibri"/>
                <a:cs typeface="Calibri"/>
              </a:rPr>
              <a:t>Machine</a:t>
            </a:r>
            <a:r>
              <a:rPr sz="1800" spc="-5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800" spc="-10" dirty="0">
                <a:solidFill>
                  <a:srgbClr val="FFFFFF"/>
                </a:solidFill>
                <a:latin typeface="Calibri"/>
                <a:cs typeface="Calibri"/>
              </a:rPr>
              <a:t>Learning</a:t>
            </a:r>
            <a:endParaRPr sz="1800">
              <a:latin typeface="Calibri"/>
              <a:cs typeface="Calibri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2380233" y="4191380"/>
            <a:ext cx="136715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solidFill>
                  <a:srgbClr val="FFFFFF"/>
                </a:solidFill>
                <a:latin typeface="Calibri"/>
                <a:cs typeface="Calibri"/>
              </a:rPr>
              <a:t>Deep</a:t>
            </a:r>
            <a:r>
              <a:rPr sz="1800" spc="-4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800" spc="-10" dirty="0">
                <a:solidFill>
                  <a:srgbClr val="FFFFFF"/>
                </a:solidFill>
                <a:latin typeface="Calibri"/>
                <a:cs typeface="Calibri"/>
              </a:rPr>
              <a:t>Learning</a:t>
            </a:r>
            <a:endParaRPr sz="1800">
              <a:latin typeface="Calibri"/>
              <a:cs typeface="Calibri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3030473" y="5223509"/>
            <a:ext cx="59436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10" dirty="0">
                <a:solidFill>
                  <a:srgbClr val="FFFFFF"/>
                </a:solidFill>
                <a:latin typeface="Calibri"/>
                <a:cs typeface="Calibri"/>
              </a:rPr>
              <a:t>GenAI</a:t>
            </a:r>
            <a:endParaRPr sz="1800">
              <a:latin typeface="Calibri"/>
              <a:cs typeface="Calibri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5666866" y="1535760"/>
            <a:ext cx="6065520" cy="1030605"/>
          </a:xfrm>
          <a:prstGeom prst="rect">
            <a:avLst/>
          </a:prstGeom>
          <a:gradFill>
            <a:gsLst>
              <a:gs pos="0">
                <a:schemeClr val="accent6">
                  <a:lumMod val="50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  <p:txBody>
          <a:bodyPr vert="horz" wrap="square" lIns="0" tIns="156210" rIns="0" bIns="0" rtlCol="0">
            <a:spAutoFit/>
          </a:bodyPr>
          <a:lstStyle/>
          <a:p>
            <a:pPr marL="139700" marR="2686685">
              <a:lnSpc>
                <a:spcPct val="100000"/>
              </a:lnSpc>
              <a:spcBef>
                <a:spcPts val="1230"/>
              </a:spcBef>
            </a:pPr>
            <a:r>
              <a:rPr sz="1800" b="1" dirty="0">
                <a:solidFill>
                  <a:srgbClr val="FFFFFF"/>
                </a:solidFill>
                <a:latin typeface="Calibri"/>
                <a:cs typeface="Calibri"/>
              </a:rPr>
              <a:t>Techniques</a:t>
            </a:r>
            <a:r>
              <a:rPr sz="1800" b="1" spc="-6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800" b="1" dirty="0">
                <a:solidFill>
                  <a:srgbClr val="FFFFFF"/>
                </a:solidFill>
                <a:latin typeface="Calibri"/>
                <a:cs typeface="Calibri"/>
              </a:rPr>
              <a:t>to</a:t>
            </a:r>
            <a:r>
              <a:rPr sz="1800" b="1" spc="-2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800" b="1" dirty="0">
                <a:solidFill>
                  <a:srgbClr val="FFFFFF"/>
                </a:solidFill>
                <a:latin typeface="Calibri"/>
                <a:cs typeface="Calibri"/>
              </a:rPr>
              <a:t>create</a:t>
            </a:r>
            <a:r>
              <a:rPr sz="1800" b="1" spc="-4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800" b="1" dirty="0">
                <a:solidFill>
                  <a:srgbClr val="FFFFFF"/>
                </a:solidFill>
                <a:latin typeface="Calibri"/>
                <a:cs typeface="Calibri"/>
              </a:rPr>
              <a:t>systems</a:t>
            </a:r>
            <a:r>
              <a:rPr sz="1800" b="1" spc="-4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800" b="1" spc="-20" dirty="0">
                <a:solidFill>
                  <a:srgbClr val="FFFFFF"/>
                </a:solidFill>
                <a:latin typeface="Calibri"/>
                <a:cs typeface="Calibri"/>
              </a:rPr>
              <a:t>that </a:t>
            </a:r>
            <a:r>
              <a:rPr sz="1800" b="1" dirty="0">
                <a:solidFill>
                  <a:srgbClr val="FFFFFF"/>
                </a:solidFill>
                <a:latin typeface="Calibri"/>
                <a:cs typeface="Calibri"/>
              </a:rPr>
              <a:t>think</a:t>
            </a:r>
            <a:r>
              <a:rPr sz="1800" b="1" spc="-2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800" b="1" dirty="0">
                <a:solidFill>
                  <a:srgbClr val="FFFFFF"/>
                </a:solidFill>
                <a:latin typeface="Calibri"/>
                <a:cs typeface="Calibri"/>
              </a:rPr>
              <a:t>and</a:t>
            </a:r>
            <a:r>
              <a:rPr sz="1800" b="1" spc="-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800" b="1" dirty="0">
                <a:solidFill>
                  <a:srgbClr val="FFFFFF"/>
                </a:solidFill>
                <a:latin typeface="Calibri"/>
                <a:cs typeface="Calibri"/>
              </a:rPr>
              <a:t>act like</a:t>
            </a:r>
            <a:r>
              <a:rPr sz="1800" b="1" spc="-2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800" b="1" spc="-10" dirty="0">
                <a:solidFill>
                  <a:srgbClr val="FFFFFF"/>
                </a:solidFill>
                <a:latin typeface="Calibri"/>
                <a:cs typeface="Calibri"/>
              </a:rPr>
              <a:t>humans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5666866" y="2669959"/>
            <a:ext cx="6065520" cy="904875"/>
          </a:xfrm>
          <a:prstGeom prst="rect">
            <a:avLst/>
          </a:prstGeom>
          <a:gradFill>
            <a:gsLst>
              <a:gs pos="15000">
                <a:schemeClr val="accent6">
                  <a:lumMod val="50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  <p:txBody>
          <a:bodyPr vert="horz" wrap="square" lIns="0" tIns="76835" rIns="0" bIns="0" rtlCol="0">
            <a:spAutoFit/>
          </a:bodyPr>
          <a:lstStyle/>
          <a:p>
            <a:pPr marL="139700">
              <a:lnSpc>
                <a:spcPct val="100000"/>
              </a:lnSpc>
              <a:spcBef>
                <a:spcPts val="605"/>
              </a:spcBef>
            </a:pPr>
            <a:r>
              <a:rPr sz="1800" b="1" dirty="0">
                <a:solidFill>
                  <a:srgbClr val="FFFFFF"/>
                </a:solidFill>
                <a:latin typeface="Calibri"/>
                <a:cs typeface="Calibri"/>
              </a:rPr>
              <a:t>Pattern</a:t>
            </a:r>
            <a:r>
              <a:rPr sz="1800" b="1" spc="-10" dirty="0">
                <a:solidFill>
                  <a:srgbClr val="FFFFFF"/>
                </a:solidFill>
                <a:latin typeface="Calibri"/>
                <a:cs typeface="Calibri"/>
              </a:rPr>
              <a:t> recognition</a:t>
            </a:r>
            <a:endParaRPr sz="1800" dirty="0">
              <a:latin typeface="Calibri"/>
              <a:cs typeface="Calibri"/>
            </a:endParaRPr>
          </a:p>
          <a:p>
            <a:pPr marL="139700" marR="2800350">
              <a:lnSpc>
                <a:spcPct val="100000"/>
              </a:lnSpc>
              <a:spcBef>
                <a:spcPts val="30"/>
              </a:spcBef>
            </a:pPr>
            <a:r>
              <a:rPr sz="1400" spc="-10" dirty="0">
                <a:solidFill>
                  <a:srgbClr val="FFFFFF"/>
                </a:solidFill>
                <a:latin typeface="Calibri"/>
                <a:cs typeface="Calibri"/>
              </a:rPr>
              <a:t>Algorithms</a:t>
            </a:r>
            <a:r>
              <a:rPr sz="1400" spc="-2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that</a:t>
            </a:r>
            <a:r>
              <a:rPr sz="1400" spc="-1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improve</a:t>
            </a:r>
            <a:r>
              <a:rPr sz="1400" spc="-3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in</a:t>
            </a:r>
            <a:r>
              <a:rPr sz="1400" spc="-3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performance</a:t>
            </a:r>
            <a:r>
              <a:rPr sz="1400" spc="-3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spc="-25" dirty="0">
                <a:solidFill>
                  <a:srgbClr val="FFFFFF"/>
                </a:solidFill>
                <a:latin typeface="Calibri"/>
                <a:cs typeface="Calibri"/>
              </a:rPr>
              <a:t>as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they</a:t>
            </a:r>
            <a:r>
              <a:rPr sz="1400" spc="-2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are</a:t>
            </a:r>
            <a:r>
              <a:rPr sz="1400" spc="-4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exposed</a:t>
            </a:r>
            <a:r>
              <a:rPr sz="1400" spc="-3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to</a:t>
            </a:r>
            <a:r>
              <a:rPr sz="1400" spc="-3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more</a:t>
            </a:r>
            <a:r>
              <a:rPr sz="1400" spc="-5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spc="-20" dirty="0">
                <a:solidFill>
                  <a:srgbClr val="FFFFFF"/>
                </a:solidFill>
                <a:latin typeface="Calibri"/>
                <a:cs typeface="Calibri"/>
              </a:rPr>
              <a:t>data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5666866" y="3668115"/>
            <a:ext cx="6065520" cy="1241425"/>
          </a:xfrm>
          <a:prstGeom prst="rect">
            <a:avLst/>
          </a:prstGeom>
          <a:gradFill>
            <a:gsLst>
              <a:gs pos="4000">
                <a:schemeClr val="accent6">
                  <a:lumMod val="50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  <p:txBody>
          <a:bodyPr vert="horz" wrap="square" lIns="0" tIns="15240" rIns="0" bIns="0" rtlCol="0">
            <a:spAutoFit/>
          </a:bodyPr>
          <a:lstStyle/>
          <a:p>
            <a:pPr marL="139700">
              <a:lnSpc>
                <a:spcPct val="100000"/>
              </a:lnSpc>
              <a:spcBef>
                <a:spcPts val="120"/>
              </a:spcBef>
            </a:pPr>
            <a:r>
              <a:rPr sz="1800" b="1" dirty="0">
                <a:solidFill>
                  <a:srgbClr val="FFFFFF"/>
                </a:solidFill>
                <a:latin typeface="Calibri"/>
                <a:cs typeface="Calibri"/>
              </a:rPr>
              <a:t>Deep</a:t>
            </a:r>
            <a:r>
              <a:rPr sz="1800" b="1" spc="-3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800" b="1" spc="-10" dirty="0">
                <a:solidFill>
                  <a:srgbClr val="FFFFFF"/>
                </a:solidFill>
                <a:latin typeface="Calibri"/>
                <a:cs typeface="Calibri"/>
              </a:rPr>
              <a:t>Learning</a:t>
            </a:r>
            <a:endParaRPr sz="1800" dirty="0">
              <a:latin typeface="Calibri"/>
              <a:cs typeface="Calibri"/>
            </a:endParaRPr>
          </a:p>
          <a:p>
            <a:pPr marL="139700" marR="3140075">
              <a:lnSpc>
                <a:spcPct val="100000"/>
              </a:lnSpc>
              <a:spcBef>
                <a:spcPts val="30"/>
              </a:spcBef>
            </a:pP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Use</a:t>
            </a:r>
            <a:r>
              <a:rPr sz="1400" spc="-4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of</a:t>
            </a:r>
            <a:r>
              <a:rPr sz="1400" spc="-4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deep</a:t>
            </a:r>
            <a:r>
              <a:rPr sz="1400" spc="-1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neural</a:t>
            </a:r>
            <a:r>
              <a:rPr sz="1400" spc="-2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networks</a:t>
            </a:r>
            <a:r>
              <a:rPr sz="1400" spc="-3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to</a:t>
            </a:r>
            <a:r>
              <a:rPr sz="1400" spc="-3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spc="-10" dirty="0">
                <a:solidFill>
                  <a:srgbClr val="FFFFFF"/>
                </a:solidFill>
                <a:latin typeface="Calibri"/>
                <a:cs typeface="Calibri"/>
              </a:rPr>
              <a:t>learn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general</a:t>
            </a:r>
            <a:r>
              <a:rPr sz="1400" spc="-3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patterns</a:t>
            </a:r>
            <a:r>
              <a:rPr sz="1400" spc="-2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in</a:t>
            </a:r>
            <a:r>
              <a:rPr sz="1400" spc="-4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(vast</a:t>
            </a:r>
            <a:r>
              <a:rPr sz="1400" spc="-3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amounts</a:t>
            </a:r>
            <a:r>
              <a:rPr sz="1400" spc="-3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spc="-25" dirty="0">
                <a:solidFill>
                  <a:srgbClr val="FFFFFF"/>
                </a:solidFill>
                <a:latin typeface="Calibri"/>
                <a:cs typeface="Calibri"/>
              </a:rPr>
              <a:t>of)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structured</a:t>
            </a:r>
            <a:r>
              <a:rPr sz="1400" spc="-3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and</a:t>
            </a:r>
            <a:r>
              <a:rPr sz="1400" spc="-4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unstructured</a:t>
            </a:r>
            <a:r>
              <a:rPr sz="1400" spc="-2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data</a:t>
            </a:r>
            <a:r>
              <a:rPr sz="1400" spc="-3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spc="-10" dirty="0">
                <a:solidFill>
                  <a:srgbClr val="FFFFFF"/>
                </a:solidFill>
                <a:latin typeface="Calibri"/>
                <a:cs typeface="Calibri"/>
              </a:rPr>
              <a:t>(e.g.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tabular</a:t>
            </a:r>
            <a:r>
              <a:rPr sz="1400" spc="-3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data,</a:t>
            </a:r>
            <a:r>
              <a:rPr sz="1400" spc="-4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images,</a:t>
            </a:r>
            <a:r>
              <a:rPr sz="1400" spc="-4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audio,</a:t>
            </a:r>
            <a:r>
              <a:rPr sz="1400" spc="-4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spc="-10" dirty="0">
                <a:solidFill>
                  <a:srgbClr val="FFFFFF"/>
                </a:solidFill>
                <a:latin typeface="Calibri"/>
                <a:cs typeface="Calibri"/>
              </a:rPr>
              <a:t>videos)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5666866" y="5004815"/>
            <a:ext cx="6065520" cy="1146810"/>
          </a:xfrm>
          <a:prstGeom prst="rect">
            <a:avLst/>
          </a:prstGeom>
          <a:gradFill>
            <a:gsLst>
              <a:gs pos="3000">
                <a:schemeClr val="accent6">
                  <a:lumMod val="50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  <p:txBody>
          <a:bodyPr vert="horz" wrap="square" lIns="0" tIns="78105" rIns="0" bIns="0" rtlCol="0">
            <a:spAutoFit/>
          </a:bodyPr>
          <a:lstStyle/>
          <a:p>
            <a:pPr marL="109220">
              <a:lnSpc>
                <a:spcPct val="100000"/>
              </a:lnSpc>
              <a:spcBef>
                <a:spcPts val="615"/>
              </a:spcBef>
            </a:pPr>
            <a:r>
              <a:rPr sz="1800" b="1" dirty="0">
                <a:solidFill>
                  <a:srgbClr val="FFFFFF"/>
                </a:solidFill>
                <a:latin typeface="Calibri"/>
                <a:cs typeface="Calibri"/>
              </a:rPr>
              <a:t>Generative</a:t>
            </a:r>
            <a:r>
              <a:rPr sz="1800" b="1" spc="-4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800" b="1" spc="-25" dirty="0">
                <a:solidFill>
                  <a:srgbClr val="FFFFFF"/>
                </a:solidFill>
                <a:latin typeface="Calibri"/>
                <a:cs typeface="Calibri"/>
              </a:rPr>
              <a:t>AI</a:t>
            </a:r>
            <a:endParaRPr sz="1800" dirty="0">
              <a:latin typeface="Calibri"/>
              <a:cs typeface="Calibri"/>
            </a:endParaRPr>
          </a:p>
          <a:p>
            <a:pPr marL="109220" marR="3044825">
              <a:lnSpc>
                <a:spcPct val="100000"/>
              </a:lnSpc>
              <a:spcBef>
                <a:spcPts val="25"/>
              </a:spcBef>
            </a:pP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Subset</a:t>
            </a:r>
            <a:r>
              <a:rPr sz="1400" spc="-3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of</a:t>
            </a:r>
            <a:r>
              <a:rPr sz="1400" spc="-4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Deep</a:t>
            </a:r>
            <a:r>
              <a:rPr sz="1400" spc="-3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Learning</a:t>
            </a:r>
            <a:r>
              <a:rPr sz="1400" spc="-2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to</a:t>
            </a:r>
            <a:r>
              <a:rPr sz="1400" spc="-3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spc="-10" dirty="0">
                <a:solidFill>
                  <a:srgbClr val="FFFFFF"/>
                </a:solidFill>
                <a:latin typeface="Calibri"/>
                <a:cs typeface="Calibri"/>
              </a:rPr>
              <a:t>generate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content,</a:t>
            </a:r>
            <a:r>
              <a:rPr sz="1400" spc="-3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typically</a:t>
            </a:r>
            <a:r>
              <a:rPr sz="1400" spc="-2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spc="-10" dirty="0">
                <a:solidFill>
                  <a:srgbClr val="FFFFFF"/>
                </a:solidFill>
                <a:latin typeface="Calibri"/>
                <a:cs typeface="Calibri"/>
              </a:rPr>
              <a:t>leveraging</a:t>
            </a:r>
            <a:r>
              <a:rPr sz="1400" spc="-2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pre-</a:t>
            </a:r>
            <a:r>
              <a:rPr sz="1400" spc="-10" dirty="0">
                <a:solidFill>
                  <a:srgbClr val="FFFFFF"/>
                </a:solidFill>
                <a:latin typeface="Calibri"/>
                <a:cs typeface="Calibri"/>
              </a:rPr>
              <a:t>trained knowledge</a:t>
            </a:r>
            <a:r>
              <a:rPr sz="1400" spc="-4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and</a:t>
            </a:r>
            <a:r>
              <a:rPr sz="1400" spc="-3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unstructured</a:t>
            </a:r>
            <a:r>
              <a:rPr sz="1400" spc="-1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spc="-20" dirty="0">
                <a:solidFill>
                  <a:srgbClr val="FFFFFF"/>
                </a:solidFill>
                <a:latin typeface="Calibri"/>
                <a:cs typeface="Calibri"/>
              </a:rPr>
              <a:t>data</a:t>
            </a:r>
            <a:endParaRPr sz="1400" dirty="0">
              <a:latin typeface="Calibri"/>
              <a:cs typeface="Calibri"/>
            </a:endParaRPr>
          </a:p>
        </p:txBody>
      </p:sp>
      <p:grpSp>
        <p:nvGrpSpPr>
          <p:cNvPr id="17" name="object 17"/>
          <p:cNvGrpSpPr/>
          <p:nvPr/>
        </p:nvGrpSpPr>
        <p:grpSpPr>
          <a:xfrm>
            <a:off x="2550541" y="1740261"/>
            <a:ext cx="9113520" cy="4347210"/>
            <a:chOff x="2550541" y="1740261"/>
            <a:chExt cx="9113520" cy="4347210"/>
          </a:xfrm>
        </p:grpSpPr>
        <p:sp>
          <p:nvSpPr>
            <p:cNvPr id="18" name="object 18"/>
            <p:cNvSpPr/>
            <p:nvPr/>
          </p:nvSpPr>
          <p:spPr>
            <a:xfrm>
              <a:off x="11040901" y="5283779"/>
              <a:ext cx="613410" cy="558165"/>
            </a:xfrm>
            <a:custGeom>
              <a:avLst/>
              <a:gdLst/>
              <a:ahLst/>
              <a:cxnLst/>
              <a:rect l="l" t="t" r="r" b="b"/>
              <a:pathLst>
                <a:path w="613409" h="558164">
                  <a:moveTo>
                    <a:pt x="83641" y="446122"/>
                  </a:moveTo>
                  <a:lnTo>
                    <a:pt x="250935" y="446122"/>
                  </a:lnTo>
                  <a:lnTo>
                    <a:pt x="250935" y="278828"/>
                  </a:lnTo>
                  <a:lnTo>
                    <a:pt x="83641" y="278828"/>
                  </a:lnTo>
                  <a:lnTo>
                    <a:pt x="83641" y="446122"/>
                  </a:lnTo>
                  <a:close/>
                </a:path>
                <a:path w="613409" h="558164">
                  <a:moveTo>
                    <a:pt x="334582" y="278828"/>
                  </a:moveTo>
                  <a:lnTo>
                    <a:pt x="529758" y="278828"/>
                  </a:lnTo>
                </a:path>
                <a:path w="613409" h="558164">
                  <a:moveTo>
                    <a:pt x="334582" y="362475"/>
                  </a:moveTo>
                  <a:lnTo>
                    <a:pt x="529759" y="362475"/>
                  </a:lnTo>
                </a:path>
                <a:path w="613409" h="558164">
                  <a:moveTo>
                    <a:pt x="334582" y="446122"/>
                  </a:moveTo>
                  <a:lnTo>
                    <a:pt x="418229" y="446122"/>
                  </a:lnTo>
                </a:path>
                <a:path w="613409" h="558164">
                  <a:moveTo>
                    <a:pt x="83641" y="83651"/>
                  </a:moveTo>
                  <a:lnTo>
                    <a:pt x="111523" y="83651"/>
                  </a:lnTo>
                </a:path>
                <a:path w="613409" h="558164">
                  <a:moveTo>
                    <a:pt x="195170" y="83651"/>
                  </a:moveTo>
                  <a:lnTo>
                    <a:pt x="223053" y="83651"/>
                  </a:lnTo>
                </a:path>
                <a:path w="613409" h="558164">
                  <a:moveTo>
                    <a:pt x="418229" y="83651"/>
                  </a:moveTo>
                  <a:lnTo>
                    <a:pt x="529758" y="83651"/>
                  </a:lnTo>
                </a:path>
                <a:path w="613409" h="558164">
                  <a:moveTo>
                    <a:pt x="0" y="167298"/>
                  </a:moveTo>
                  <a:lnTo>
                    <a:pt x="613405" y="167298"/>
                  </a:lnTo>
                </a:path>
                <a:path w="613409" h="558164">
                  <a:moveTo>
                    <a:pt x="0" y="557646"/>
                  </a:moveTo>
                  <a:lnTo>
                    <a:pt x="613412" y="557646"/>
                  </a:lnTo>
                  <a:lnTo>
                    <a:pt x="613411" y="0"/>
                  </a:lnTo>
                  <a:lnTo>
                    <a:pt x="0" y="0"/>
                  </a:lnTo>
                  <a:lnTo>
                    <a:pt x="0" y="557646"/>
                  </a:lnTo>
                  <a:close/>
                </a:path>
              </a:pathLst>
            </a:custGeom>
            <a:ln w="1858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9"/>
            <p:cNvSpPr/>
            <p:nvPr/>
          </p:nvSpPr>
          <p:spPr>
            <a:xfrm>
              <a:off x="3487038" y="3122294"/>
              <a:ext cx="2179955" cy="0"/>
            </a:xfrm>
            <a:custGeom>
              <a:avLst/>
              <a:gdLst/>
              <a:ahLst/>
              <a:cxnLst/>
              <a:rect l="l" t="t" r="r" b="b"/>
              <a:pathLst>
                <a:path w="2179954">
                  <a:moveTo>
                    <a:pt x="0" y="0"/>
                  </a:moveTo>
                  <a:lnTo>
                    <a:pt x="2179828" y="0"/>
                  </a:lnTo>
                </a:path>
              </a:pathLst>
            </a:custGeom>
            <a:ln w="19050">
              <a:solidFill>
                <a:srgbClr val="629C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20"/>
            <p:cNvSpPr/>
            <p:nvPr/>
          </p:nvSpPr>
          <p:spPr>
            <a:xfrm>
              <a:off x="2560066" y="2041905"/>
              <a:ext cx="3107055" cy="9525"/>
            </a:xfrm>
            <a:custGeom>
              <a:avLst/>
              <a:gdLst/>
              <a:ahLst/>
              <a:cxnLst/>
              <a:rect l="l" t="t" r="r" b="b"/>
              <a:pathLst>
                <a:path w="3107054" h="9525">
                  <a:moveTo>
                    <a:pt x="0" y="0"/>
                  </a:moveTo>
                  <a:lnTo>
                    <a:pt x="3106800" y="9017"/>
                  </a:lnTo>
                </a:path>
              </a:pathLst>
            </a:custGeom>
            <a:ln w="19050">
              <a:solidFill>
                <a:srgbClr val="B0CE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21"/>
            <p:cNvSpPr/>
            <p:nvPr/>
          </p:nvSpPr>
          <p:spPr>
            <a:xfrm>
              <a:off x="9121545" y="5216519"/>
              <a:ext cx="361315" cy="328295"/>
            </a:xfrm>
            <a:custGeom>
              <a:avLst/>
              <a:gdLst/>
              <a:ahLst/>
              <a:cxnLst/>
              <a:rect l="l" t="t" r="r" b="b"/>
              <a:pathLst>
                <a:path w="361315" h="328295">
                  <a:moveTo>
                    <a:pt x="49201" y="262426"/>
                  </a:moveTo>
                  <a:lnTo>
                    <a:pt x="147610" y="262426"/>
                  </a:lnTo>
                  <a:lnTo>
                    <a:pt x="147610" y="164017"/>
                  </a:lnTo>
                  <a:lnTo>
                    <a:pt x="49201" y="164017"/>
                  </a:lnTo>
                  <a:lnTo>
                    <a:pt x="49201" y="262426"/>
                  </a:lnTo>
                  <a:close/>
                </a:path>
                <a:path w="361315" h="328295">
                  <a:moveTo>
                    <a:pt x="196814" y="164017"/>
                  </a:moveTo>
                  <a:lnTo>
                    <a:pt x="311625" y="164017"/>
                  </a:lnTo>
                </a:path>
                <a:path w="361315" h="328295">
                  <a:moveTo>
                    <a:pt x="196815" y="213222"/>
                  </a:moveTo>
                  <a:lnTo>
                    <a:pt x="311625" y="213222"/>
                  </a:lnTo>
                </a:path>
                <a:path w="361315" h="328295">
                  <a:moveTo>
                    <a:pt x="196815" y="262426"/>
                  </a:moveTo>
                  <a:lnTo>
                    <a:pt x="246019" y="262426"/>
                  </a:lnTo>
                </a:path>
                <a:path w="361315" h="328295">
                  <a:moveTo>
                    <a:pt x="49201" y="49207"/>
                  </a:moveTo>
                  <a:lnTo>
                    <a:pt x="65602" y="49207"/>
                  </a:lnTo>
                </a:path>
                <a:path w="361315" h="328295">
                  <a:moveTo>
                    <a:pt x="114807" y="49207"/>
                  </a:moveTo>
                  <a:lnTo>
                    <a:pt x="131208" y="49207"/>
                  </a:lnTo>
                </a:path>
                <a:path w="361315" h="328295">
                  <a:moveTo>
                    <a:pt x="246019" y="49207"/>
                  </a:moveTo>
                  <a:lnTo>
                    <a:pt x="311625" y="49207"/>
                  </a:lnTo>
                </a:path>
                <a:path w="361315" h="328295">
                  <a:moveTo>
                    <a:pt x="0" y="98411"/>
                  </a:moveTo>
                  <a:lnTo>
                    <a:pt x="360829" y="98411"/>
                  </a:lnTo>
                </a:path>
                <a:path w="361315" h="328295">
                  <a:moveTo>
                    <a:pt x="0" y="328030"/>
                  </a:moveTo>
                  <a:lnTo>
                    <a:pt x="360833" y="328030"/>
                  </a:lnTo>
                  <a:lnTo>
                    <a:pt x="360833" y="0"/>
                  </a:lnTo>
                  <a:lnTo>
                    <a:pt x="0" y="0"/>
                  </a:lnTo>
                  <a:lnTo>
                    <a:pt x="0" y="328030"/>
                  </a:lnTo>
                  <a:close/>
                </a:path>
              </a:pathLst>
            </a:custGeom>
            <a:ln w="10933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22"/>
            <p:cNvSpPr/>
            <p:nvPr/>
          </p:nvSpPr>
          <p:spPr>
            <a:xfrm>
              <a:off x="9525024" y="5214741"/>
              <a:ext cx="361315" cy="328295"/>
            </a:xfrm>
            <a:custGeom>
              <a:avLst/>
              <a:gdLst/>
              <a:ahLst/>
              <a:cxnLst/>
              <a:rect l="l" t="t" r="r" b="b"/>
              <a:pathLst>
                <a:path w="361315" h="328295">
                  <a:moveTo>
                    <a:pt x="49201" y="262426"/>
                  </a:moveTo>
                  <a:lnTo>
                    <a:pt x="147610" y="262426"/>
                  </a:lnTo>
                  <a:lnTo>
                    <a:pt x="147610" y="164017"/>
                  </a:lnTo>
                  <a:lnTo>
                    <a:pt x="49201" y="164017"/>
                  </a:lnTo>
                  <a:lnTo>
                    <a:pt x="49201" y="262426"/>
                  </a:lnTo>
                  <a:close/>
                </a:path>
                <a:path w="361315" h="328295">
                  <a:moveTo>
                    <a:pt x="196814" y="164017"/>
                  </a:moveTo>
                  <a:lnTo>
                    <a:pt x="311625" y="164017"/>
                  </a:lnTo>
                </a:path>
                <a:path w="361315" h="328295">
                  <a:moveTo>
                    <a:pt x="196815" y="213222"/>
                  </a:moveTo>
                  <a:lnTo>
                    <a:pt x="311625" y="213222"/>
                  </a:lnTo>
                </a:path>
                <a:path w="361315" h="328295">
                  <a:moveTo>
                    <a:pt x="196815" y="262426"/>
                  </a:moveTo>
                  <a:lnTo>
                    <a:pt x="246019" y="262426"/>
                  </a:lnTo>
                </a:path>
                <a:path w="361315" h="328295">
                  <a:moveTo>
                    <a:pt x="49201" y="49207"/>
                  </a:moveTo>
                  <a:lnTo>
                    <a:pt x="65602" y="49207"/>
                  </a:lnTo>
                </a:path>
                <a:path w="361315" h="328295">
                  <a:moveTo>
                    <a:pt x="114807" y="49207"/>
                  </a:moveTo>
                  <a:lnTo>
                    <a:pt x="131208" y="49207"/>
                  </a:lnTo>
                </a:path>
                <a:path w="361315" h="328295">
                  <a:moveTo>
                    <a:pt x="246019" y="49207"/>
                  </a:moveTo>
                  <a:lnTo>
                    <a:pt x="311625" y="49207"/>
                  </a:lnTo>
                </a:path>
                <a:path w="361315" h="328295">
                  <a:moveTo>
                    <a:pt x="0" y="98411"/>
                  </a:moveTo>
                  <a:lnTo>
                    <a:pt x="360829" y="98411"/>
                  </a:lnTo>
                </a:path>
                <a:path w="361315" h="328295">
                  <a:moveTo>
                    <a:pt x="0" y="328030"/>
                  </a:moveTo>
                  <a:lnTo>
                    <a:pt x="360833" y="328030"/>
                  </a:lnTo>
                  <a:lnTo>
                    <a:pt x="360833" y="0"/>
                  </a:lnTo>
                  <a:lnTo>
                    <a:pt x="0" y="0"/>
                  </a:lnTo>
                  <a:lnTo>
                    <a:pt x="0" y="328030"/>
                  </a:lnTo>
                  <a:close/>
                </a:path>
              </a:pathLst>
            </a:custGeom>
            <a:ln w="10933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3"/>
            <p:cNvSpPr/>
            <p:nvPr/>
          </p:nvSpPr>
          <p:spPr>
            <a:xfrm>
              <a:off x="9120276" y="5596782"/>
              <a:ext cx="361315" cy="328295"/>
            </a:xfrm>
            <a:custGeom>
              <a:avLst/>
              <a:gdLst/>
              <a:ahLst/>
              <a:cxnLst/>
              <a:rect l="l" t="t" r="r" b="b"/>
              <a:pathLst>
                <a:path w="361315" h="328295">
                  <a:moveTo>
                    <a:pt x="49201" y="262426"/>
                  </a:moveTo>
                  <a:lnTo>
                    <a:pt x="147610" y="262426"/>
                  </a:lnTo>
                  <a:lnTo>
                    <a:pt x="147610" y="164017"/>
                  </a:lnTo>
                  <a:lnTo>
                    <a:pt x="49201" y="164017"/>
                  </a:lnTo>
                  <a:lnTo>
                    <a:pt x="49201" y="262426"/>
                  </a:lnTo>
                  <a:close/>
                </a:path>
                <a:path w="361315" h="328295">
                  <a:moveTo>
                    <a:pt x="196814" y="164017"/>
                  </a:moveTo>
                  <a:lnTo>
                    <a:pt x="311625" y="164017"/>
                  </a:lnTo>
                </a:path>
                <a:path w="361315" h="328295">
                  <a:moveTo>
                    <a:pt x="196814" y="213222"/>
                  </a:moveTo>
                  <a:lnTo>
                    <a:pt x="311625" y="213222"/>
                  </a:lnTo>
                </a:path>
                <a:path w="361315" h="328295">
                  <a:moveTo>
                    <a:pt x="196814" y="262426"/>
                  </a:moveTo>
                  <a:lnTo>
                    <a:pt x="246019" y="262426"/>
                  </a:lnTo>
                </a:path>
                <a:path w="361315" h="328295">
                  <a:moveTo>
                    <a:pt x="49201" y="49207"/>
                  </a:moveTo>
                  <a:lnTo>
                    <a:pt x="65602" y="49207"/>
                  </a:lnTo>
                </a:path>
                <a:path w="361315" h="328295">
                  <a:moveTo>
                    <a:pt x="114807" y="49207"/>
                  </a:moveTo>
                  <a:lnTo>
                    <a:pt x="131208" y="49207"/>
                  </a:lnTo>
                </a:path>
                <a:path w="361315" h="328295">
                  <a:moveTo>
                    <a:pt x="246019" y="49207"/>
                  </a:moveTo>
                  <a:lnTo>
                    <a:pt x="311625" y="49207"/>
                  </a:lnTo>
                </a:path>
                <a:path w="361315" h="328295">
                  <a:moveTo>
                    <a:pt x="0" y="98411"/>
                  </a:moveTo>
                  <a:lnTo>
                    <a:pt x="360829" y="98411"/>
                  </a:lnTo>
                </a:path>
                <a:path w="361315" h="328295">
                  <a:moveTo>
                    <a:pt x="0" y="328030"/>
                  </a:moveTo>
                  <a:lnTo>
                    <a:pt x="360833" y="328030"/>
                  </a:lnTo>
                  <a:lnTo>
                    <a:pt x="360833" y="0"/>
                  </a:lnTo>
                  <a:lnTo>
                    <a:pt x="0" y="0"/>
                  </a:lnTo>
                  <a:lnTo>
                    <a:pt x="0" y="328030"/>
                  </a:lnTo>
                  <a:close/>
                </a:path>
              </a:pathLst>
            </a:custGeom>
            <a:ln w="10933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4"/>
            <p:cNvSpPr/>
            <p:nvPr/>
          </p:nvSpPr>
          <p:spPr>
            <a:xfrm>
              <a:off x="9523119" y="5596782"/>
              <a:ext cx="361315" cy="328295"/>
            </a:xfrm>
            <a:custGeom>
              <a:avLst/>
              <a:gdLst/>
              <a:ahLst/>
              <a:cxnLst/>
              <a:rect l="l" t="t" r="r" b="b"/>
              <a:pathLst>
                <a:path w="361315" h="328295">
                  <a:moveTo>
                    <a:pt x="49201" y="262426"/>
                  </a:moveTo>
                  <a:lnTo>
                    <a:pt x="147610" y="262426"/>
                  </a:lnTo>
                  <a:lnTo>
                    <a:pt x="147610" y="164017"/>
                  </a:lnTo>
                  <a:lnTo>
                    <a:pt x="49201" y="164017"/>
                  </a:lnTo>
                  <a:lnTo>
                    <a:pt x="49201" y="262426"/>
                  </a:lnTo>
                  <a:close/>
                </a:path>
                <a:path w="361315" h="328295">
                  <a:moveTo>
                    <a:pt x="196814" y="164017"/>
                  </a:moveTo>
                  <a:lnTo>
                    <a:pt x="311625" y="164017"/>
                  </a:lnTo>
                </a:path>
                <a:path w="361315" h="328295">
                  <a:moveTo>
                    <a:pt x="196815" y="213222"/>
                  </a:moveTo>
                  <a:lnTo>
                    <a:pt x="311625" y="213222"/>
                  </a:lnTo>
                </a:path>
                <a:path w="361315" h="328295">
                  <a:moveTo>
                    <a:pt x="196815" y="262426"/>
                  </a:moveTo>
                  <a:lnTo>
                    <a:pt x="246019" y="262426"/>
                  </a:lnTo>
                </a:path>
                <a:path w="361315" h="328295">
                  <a:moveTo>
                    <a:pt x="49201" y="49207"/>
                  </a:moveTo>
                  <a:lnTo>
                    <a:pt x="65602" y="49207"/>
                  </a:lnTo>
                </a:path>
                <a:path w="361315" h="328295">
                  <a:moveTo>
                    <a:pt x="114807" y="49207"/>
                  </a:moveTo>
                  <a:lnTo>
                    <a:pt x="131208" y="49207"/>
                  </a:lnTo>
                </a:path>
                <a:path w="361315" h="328295">
                  <a:moveTo>
                    <a:pt x="246019" y="49207"/>
                  </a:moveTo>
                  <a:lnTo>
                    <a:pt x="311625" y="49207"/>
                  </a:lnTo>
                </a:path>
                <a:path w="361315" h="328295">
                  <a:moveTo>
                    <a:pt x="0" y="98411"/>
                  </a:moveTo>
                  <a:lnTo>
                    <a:pt x="360829" y="98411"/>
                  </a:lnTo>
                </a:path>
                <a:path w="361315" h="328295">
                  <a:moveTo>
                    <a:pt x="0" y="328030"/>
                  </a:moveTo>
                  <a:lnTo>
                    <a:pt x="360833" y="328030"/>
                  </a:lnTo>
                  <a:lnTo>
                    <a:pt x="360833" y="0"/>
                  </a:lnTo>
                  <a:lnTo>
                    <a:pt x="0" y="0"/>
                  </a:lnTo>
                  <a:lnTo>
                    <a:pt x="0" y="328030"/>
                  </a:lnTo>
                  <a:close/>
                </a:path>
              </a:pathLst>
            </a:custGeom>
            <a:ln w="10933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25"/>
            <p:cNvSpPr/>
            <p:nvPr/>
          </p:nvSpPr>
          <p:spPr>
            <a:xfrm>
              <a:off x="11030247" y="4003239"/>
              <a:ext cx="0" cy="447675"/>
            </a:xfrm>
            <a:custGeom>
              <a:avLst/>
              <a:gdLst/>
              <a:ahLst/>
              <a:cxnLst/>
              <a:rect l="l" t="t" r="r" b="b"/>
              <a:pathLst>
                <a:path h="447675">
                  <a:moveTo>
                    <a:pt x="0" y="0"/>
                  </a:moveTo>
                  <a:lnTo>
                    <a:pt x="0" y="447511"/>
                  </a:lnTo>
                </a:path>
              </a:pathLst>
            </a:custGeom>
            <a:ln w="18588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6"/>
            <p:cNvSpPr/>
            <p:nvPr/>
          </p:nvSpPr>
          <p:spPr>
            <a:xfrm>
              <a:off x="11030248" y="4075733"/>
              <a:ext cx="613410" cy="541020"/>
            </a:xfrm>
            <a:custGeom>
              <a:avLst/>
              <a:gdLst/>
              <a:ahLst/>
              <a:cxnLst/>
              <a:rect l="l" t="t" r="r" b="b"/>
              <a:pathLst>
                <a:path w="613409" h="541020">
                  <a:moveTo>
                    <a:pt x="613405" y="0"/>
                  </a:moveTo>
                  <a:lnTo>
                    <a:pt x="323429" y="291370"/>
                  </a:lnTo>
                  <a:lnTo>
                    <a:pt x="206323" y="172870"/>
                  </a:lnTo>
                  <a:lnTo>
                    <a:pt x="0" y="375017"/>
                  </a:lnTo>
                  <a:lnTo>
                    <a:pt x="0" y="540912"/>
                  </a:lnTo>
                  <a:lnTo>
                    <a:pt x="613405" y="540912"/>
                  </a:lnTo>
                  <a:lnTo>
                    <a:pt x="61340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27"/>
            <p:cNvSpPr/>
            <p:nvPr/>
          </p:nvSpPr>
          <p:spPr>
            <a:xfrm>
              <a:off x="11030248" y="4075733"/>
              <a:ext cx="613410" cy="541020"/>
            </a:xfrm>
            <a:custGeom>
              <a:avLst/>
              <a:gdLst/>
              <a:ahLst/>
              <a:cxnLst/>
              <a:rect l="l" t="t" r="r" b="b"/>
              <a:pathLst>
                <a:path w="613409" h="541020">
                  <a:moveTo>
                    <a:pt x="0" y="375017"/>
                  </a:moveTo>
                  <a:lnTo>
                    <a:pt x="206323" y="172870"/>
                  </a:lnTo>
                  <a:lnTo>
                    <a:pt x="323429" y="291370"/>
                  </a:lnTo>
                  <a:lnTo>
                    <a:pt x="613405" y="0"/>
                  </a:lnTo>
                  <a:lnTo>
                    <a:pt x="613405" y="540912"/>
                  </a:lnTo>
                  <a:lnTo>
                    <a:pt x="0" y="540912"/>
                  </a:lnTo>
                  <a:lnTo>
                    <a:pt x="0" y="375017"/>
                  </a:lnTo>
                  <a:close/>
                </a:path>
              </a:pathLst>
            </a:custGeom>
            <a:ln w="18588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28"/>
            <p:cNvSpPr/>
            <p:nvPr/>
          </p:nvSpPr>
          <p:spPr>
            <a:xfrm>
              <a:off x="9250721" y="4327121"/>
              <a:ext cx="502284" cy="332740"/>
            </a:xfrm>
            <a:custGeom>
              <a:avLst/>
              <a:gdLst/>
              <a:ahLst/>
              <a:cxnLst/>
              <a:rect l="l" t="t" r="r" b="b"/>
              <a:pathLst>
                <a:path w="502284" h="332739">
                  <a:moveTo>
                    <a:pt x="501876" y="0"/>
                  </a:moveTo>
                  <a:lnTo>
                    <a:pt x="0" y="0"/>
                  </a:lnTo>
                  <a:lnTo>
                    <a:pt x="0" y="280152"/>
                  </a:lnTo>
                  <a:lnTo>
                    <a:pt x="34386" y="306612"/>
                  </a:lnTo>
                  <a:lnTo>
                    <a:pt x="73711" y="317251"/>
                  </a:lnTo>
                  <a:lnTo>
                    <a:pt x="124536" y="325483"/>
                  </a:lnTo>
                  <a:lnTo>
                    <a:pt x="184424" y="330797"/>
                  </a:lnTo>
                  <a:lnTo>
                    <a:pt x="250935" y="332682"/>
                  </a:lnTo>
                  <a:lnTo>
                    <a:pt x="317446" y="330797"/>
                  </a:lnTo>
                  <a:lnTo>
                    <a:pt x="377335" y="325483"/>
                  </a:lnTo>
                  <a:lnTo>
                    <a:pt x="428162" y="317251"/>
                  </a:lnTo>
                  <a:lnTo>
                    <a:pt x="467488" y="306612"/>
                  </a:lnTo>
                  <a:lnTo>
                    <a:pt x="501876" y="280153"/>
                  </a:lnTo>
                  <a:lnTo>
                    <a:pt x="50187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29"/>
            <p:cNvSpPr/>
            <p:nvPr/>
          </p:nvSpPr>
          <p:spPr>
            <a:xfrm>
              <a:off x="9250721" y="4327121"/>
              <a:ext cx="502284" cy="332740"/>
            </a:xfrm>
            <a:custGeom>
              <a:avLst/>
              <a:gdLst/>
              <a:ahLst/>
              <a:cxnLst/>
              <a:rect l="l" t="t" r="r" b="b"/>
              <a:pathLst>
                <a:path w="502284" h="332739">
                  <a:moveTo>
                    <a:pt x="0" y="0"/>
                  </a:moveTo>
                  <a:lnTo>
                    <a:pt x="0" y="280152"/>
                  </a:lnTo>
                  <a:lnTo>
                    <a:pt x="9003" y="294075"/>
                  </a:lnTo>
                  <a:lnTo>
                    <a:pt x="73711" y="317251"/>
                  </a:lnTo>
                  <a:lnTo>
                    <a:pt x="124536" y="325483"/>
                  </a:lnTo>
                  <a:lnTo>
                    <a:pt x="184424" y="330797"/>
                  </a:lnTo>
                  <a:lnTo>
                    <a:pt x="250935" y="332682"/>
                  </a:lnTo>
                  <a:lnTo>
                    <a:pt x="317446" y="330797"/>
                  </a:lnTo>
                  <a:lnTo>
                    <a:pt x="377335" y="325483"/>
                  </a:lnTo>
                  <a:lnTo>
                    <a:pt x="428162" y="317251"/>
                  </a:lnTo>
                  <a:lnTo>
                    <a:pt x="467488" y="306612"/>
                  </a:lnTo>
                  <a:lnTo>
                    <a:pt x="501876" y="280153"/>
                  </a:lnTo>
                  <a:lnTo>
                    <a:pt x="501876" y="0"/>
                  </a:lnTo>
                </a:path>
              </a:pathLst>
            </a:custGeom>
            <a:ln w="1378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30"/>
            <p:cNvSpPr/>
            <p:nvPr/>
          </p:nvSpPr>
          <p:spPr>
            <a:xfrm>
              <a:off x="9250721" y="4274592"/>
              <a:ext cx="502284" cy="105410"/>
            </a:xfrm>
            <a:custGeom>
              <a:avLst/>
              <a:gdLst/>
              <a:ahLst/>
              <a:cxnLst/>
              <a:rect l="l" t="t" r="r" b="b"/>
              <a:pathLst>
                <a:path w="502284" h="105410">
                  <a:moveTo>
                    <a:pt x="250935" y="0"/>
                  </a:moveTo>
                  <a:lnTo>
                    <a:pt x="184227" y="1876"/>
                  </a:lnTo>
                  <a:lnTo>
                    <a:pt x="124283" y="7170"/>
                  </a:lnTo>
                  <a:lnTo>
                    <a:pt x="73497" y="15383"/>
                  </a:lnTo>
                  <a:lnTo>
                    <a:pt x="34260" y="26014"/>
                  </a:lnTo>
                  <a:lnTo>
                    <a:pt x="0" y="52529"/>
                  </a:lnTo>
                  <a:lnTo>
                    <a:pt x="8963" y="66492"/>
                  </a:lnTo>
                  <a:lnTo>
                    <a:pt x="73497" y="89671"/>
                  </a:lnTo>
                  <a:lnTo>
                    <a:pt x="124283" y="97885"/>
                  </a:lnTo>
                  <a:lnTo>
                    <a:pt x="184227" y="103181"/>
                  </a:lnTo>
                  <a:lnTo>
                    <a:pt x="250935" y="105058"/>
                  </a:lnTo>
                  <a:lnTo>
                    <a:pt x="317647" y="103181"/>
                  </a:lnTo>
                  <a:lnTo>
                    <a:pt x="377593" y="97885"/>
                  </a:lnTo>
                  <a:lnTo>
                    <a:pt x="428380" y="89671"/>
                  </a:lnTo>
                  <a:lnTo>
                    <a:pt x="467617" y="79040"/>
                  </a:lnTo>
                  <a:lnTo>
                    <a:pt x="501876" y="52529"/>
                  </a:lnTo>
                  <a:lnTo>
                    <a:pt x="492913" y="38563"/>
                  </a:lnTo>
                  <a:lnTo>
                    <a:pt x="428380" y="15383"/>
                  </a:lnTo>
                  <a:lnTo>
                    <a:pt x="377593" y="7170"/>
                  </a:lnTo>
                  <a:lnTo>
                    <a:pt x="317647" y="1876"/>
                  </a:lnTo>
                  <a:lnTo>
                    <a:pt x="25093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31"/>
            <p:cNvSpPr/>
            <p:nvPr/>
          </p:nvSpPr>
          <p:spPr>
            <a:xfrm>
              <a:off x="9250721" y="4274592"/>
              <a:ext cx="502284" cy="105410"/>
            </a:xfrm>
            <a:custGeom>
              <a:avLst/>
              <a:gdLst/>
              <a:ahLst/>
              <a:cxnLst/>
              <a:rect l="l" t="t" r="r" b="b"/>
              <a:pathLst>
                <a:path w="502284" h="105410">
                  <a:moveTo>
                    <a:pt x="501876" y="52529"/>
                  </a:moveTo>
                  <a:lnTo>
                    <a:pt x="467617" y="79040"/>
                  </a:lnTo>
                  <a:lnTo>
                    <a:pt x="428380" y="89671"/>
                  </a:lnTo>
                  <a:lnTo>
                    <a:pt x="377593" y="97885"/>
                  </a:lnTo>
                  <a:lnTo>
                    <a:pt x="317647" y="103181"/>
                  </a:lnTo>
                  <a:lnTo>
                    <a:pt x="250935" y="105058"/>
                  </a:lnTo>
                  <a:lnTo>
                    <a:pt x="184227" y="103181"/>
                  </a:lnTo>
                  <a:lnTo>
                    <a:pt x="124283" y="97885"/>
                  </a:lnTo>
                  <a:lnTo>
                    <a:pt x="73497" y="89671"/>
                  </a:lnTo>
                  <a:lnTo>
                    <a:pt x="34260" y="79040"/>
                  </a:lnTo>
                  <a:lnTo>
                    <a:pt x="0" y="52529"/>
                  </a:lnTo>
                  <a:lnTo>
                    <a:pt x="8963" y="38563"/>
                  </a:lnTo>
                  <a:lnTo>
                    <a:pt x="73497" y="15383"/>
                  </a:lnTo>
                  <a:lnTo>
                    <a:pt x="124283" y="7170"/>
                  </a:lnTo>
                  <a:lnTo>
                    <a:pt x="184227" y="1876"/>
                  </a:lnTo>
                  <a:lnTo>
                    <a:pt x="250935" y="0"/>
                  </a:lnTo>
                  <a:lnTo>
                    <a:pt x="317647" y="1876"/>
                  </a:lnTo>
                  <a:lnTo>
                    <a:pt x="377593" y="7170"/>
                  </a:lnTo>
                  <a:lnTo>
                    <a:pt x="428380" y="15383"/>
                  </a:lnTo>
                  <a:lnTo>
                    <a:pt x="467617" y="26014"/>
                  </a:lnTo>
                  <a:lnTo>
                    <a:pt x="501876" y="52529"/>
                  </a:lnTo>
                  <a:close/>
                </a:path>
              </a:pathLst>
            </a:custGeom>
            <a:ln w="11963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32"/>
            <p:cNvSpPr/>
            <p:nvPr/>
          </p:nvSpPr>
          <p:spPr>
            <a:xfrm>
              <a:off x="9250721" y="4467199"/>
              <a:ext cx="502284" cy="52705"/>
            </a:xfrm>
            <a:custGeom>
              <a:avLst/>
              <a:gdLst/>
              <a:ahLst/>
              <a:cxnLst/>
              <a:rect l="l" t="t" r="r" b="b"/>
              <a:pathLst>
                <a:path w="502284" h="52704">
                  <a:moveTo>
                    <a:pt x="501876" y="0"/>
                  </a:moveTo>
                  <a:lnTo>
                    <a:pt x="0" y="0"/>
                  </a:lnTo>
                  <a:lnTo>
                    <a:pt x="9003" y="13922"/>
                  </a:lnTo>
                  <a:lnTo>
                    <a:pt x="34386" y="26459"/>
                  </a:lnTo>
                  <a:lnTo>
                    <a:pt x="73711" y="37098"/>
                  </a:lnTo>
                  <a:lnTo>
                    <a:pt x="124536" y="45330"/>
                  </a:lnTo>
                  <a:lnTo>
                    <a:pt x="184424" y="50644"/>
                  </a:lnTo>
                  <a:lnTo>
                    <a:pt x="250935" y="52529"/>
                  </a:lnTo>
                  <a:lnTo>
                    <a:pt x="317446" y="50644"/>
                  </a:lnTo>
                  <a:lnTo>
                    <a:pt x="377335" y="45330"/>
                  </a:lnTo>
                  <a:lnTo>
                    <a:pt x="428162" y="37098"/>
                  </a:lnTo>
                  <a:lnTo>
                    <a:pt x="467488" y="26459"/>
                  </a:lnTo>
                  <a:lnTo>
                    <a:pt x="50187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33"/>
            <p:cNvSpPr/>
            <p:nvPr/>
          </p:nvSpPr>
          <p:spPr>
            <a:xfrm>
              <a:off x="9250721" y="4467199"/>
              <a:ext cx="502284" cy="52705"/>
            </a:xfrm>
            <a:custGeom>
              <a:avLst/>
              <a:gdLst/>
              <a:ahLst/>
              <a:cxnLst/>
              <a:rect l="l" t="t" r="r" b="b"/>
              <a:pathLst>
                <a:path w="502284" h="52704">
                  <a:moveTo>
                    <a:pt x="501876" y="0"/>
                  </a:moveTo>
                  <a:lnTo>
                    <a:pt x="467488" y="26459"/>
                  </a:lnTo>
                  <a:lnTo>
                    <a:pt x="428162" y="37098"/>
                  </a:lnTo>
                  <a:lnTo>
                    <a:pt x="377335" y="45330"/>
                  </a:lnTo>
                  <a:lnTo>
                    <a:pt x="317446" y="50644"/>
                  </a:lnTo>
                  <a:lnTo>
                    <a:pt x="250935" y="52529"/>
                  </a:lnTo>
                  <a:lnTo>
                    <a:pt x="184424" y="50644"/>
                  </a:lnTo>
                  <a:lnTo>
                    <a:pt x="124536" y="45330"/>
                  </a:lnTo>
                  <a:lnTo>
                    <a:pt x="73711" y="37098"/>
                  </a:lnTo>
                  <a:lnTo>
                    <a:pt x="34386" y="26459"/>
                  </a:lnTo>
                  <a:lnTo>
                    <a:pt x="9003" y="13922"/>
                  </a:lnTo>
                  <a:lnTo>
                    <a:pt x="0" y="0"/>
                  </a:lnTo>
                </a:path>
              </a:pathLst>
            </a:custGeom>
            <a:ln w="11748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object 34"/>
            <p:cNvSpPr/>
            <p:nvPr/>
          </p:nvSpPr>
          <p:spPr>
            <a:xfrm>
              <a:off x="9250721" y="4035529"/>
              <a:ext cx="502284" cy="332740"/>
            </a:xfrm>
            <a:custGeom>
              <a:avLst/>
              <a:gdLst/>
              <a:ahLst/>
              <a:cxnLst/>
              <a:rect l="l" t="t" r="r" b="b"/>
              <a:pathLst>
                <a:path w="502284" h="332739">
                  <a:moveTo>
                    <a:pt x="501876" y="0"/>
                  </a:moveTo>
                  <a:lnTo>
                    <a:pt x="0" y="0"/>
                  </a:lnTo>
                  <a:lnTo>
                    <a:pt x="0" y="280152"/>
                  </a:lnTo>
                  <a:lnTo>
                    <a:pt x="34386" y="306612"/>
                  </a:lnTo>
                  <a:lnTo>
                    <a:pt x="73711" y="317251"/>
                  </a:lnTo>
                  <a:lnTo>
                    <a:pt x="124536" y="325483"/>
                  </a:lnTo>
                  <a:lnTo>
                    <a:pt x="184424" y="330797"/>
                  </a:lnTo>
                  <a:lnTo>
                    <a:pt x="250935" y="332682"/>
                  </a:lnTo>
                  <a:lnTo>
                    <a:pt x="317446" y="330797"/>
                  </a:lnTo>
                  <a:lnTo>
                    <a:pt x="377335" y="325483"/>
                  </a:lnTo>
                  <a:lnTo>
                    <a:pt x="428162" y="317251"/>
                  </a:lnTo>
                  <a:lnTo>
                    <a:pt x="467488" y="306612"/>
                  </a:lnTo>
                  <a:lnTo>
                    <a:pt x="501876" y="280153"/>
                  </a:lnTo>
                  <a:lnTo>
                    <a:pt x="50187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object 35"/>
            <p:cNvSpPr/>
            <p:nvPr/>
          </p:nvSpPr>
          <p:spPr>
            <a:xfrm>
              <a:off x="9250721" y="4035529"/>
              <a:ext cx="502284" cy="332740"/>
            </a:xfrm>
            <a:custGeom>
              <a:avLst/>
              <a:gdLst/>
              <a:ahLst/>
              <a:cxnLst/>
              <a:rect l="l" t="t" r="r" b="b"/>
              <a:pathLst>
                <a:path w="502284" h="332739">
                  <a:moveTo>
                    <a:pt x="0" y="0"/>
                  </a:moveTo>
                  <a:lnTo>
                    <a:pt x="0" y="280152"/>
                  </a:lnTo>
                  <a:lnTo>
                    <a:pt x="9003" y="294075"/>
                  </a:lnTo>
                  <a:lnTo>
                    <a:pt x="73711" y="317251"/>
                  </a:lnTo>
                  <a:lnTo>
                    <a:pt x="124536" y="325483"/>
                  </a:lnTo>
                  <a:lnTo>
                    <a:pt x="184424" y="330797"/>
                  </a:lnTo>
                  <a:lnTo>
                    <a:pt x="250935" y="332682"/>
                  </a:lnTo>
                  <a:lnTo>
                    <a:pt x="317446" y="330797"/>
                  </a:lnTo>
                  <a:lnTo>
                    <a:pt x="377335" y="325483"/>
                  </a:lnTo>
                  <a:lnTo>
                    <a:pt x="428162" y="317251"/>
                  </a:lnTo>
                  <a:lnTo>
                    <a:pt x="467488" y="306612"/>
                  </a:lnTo>
                  <a:lnTo>
                    <a:pt x="501876" y="280153"/>
                  </a:lnTo>
                  <a:lnTo>
                    <a:pt x="501876" y="0"/>
                  </a:lnTo>
                </a:path>
              </a:pathLst>
            </a:custGeom>
            <a:ln w="1378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36"/>
            <p:cNvSpPr/>
            <p:nvPr/>
          </p:nvSpPr>
          <p:spPr>
            <a:xfrm>
              <a:off x="9250721" y="3983000"/>
              <a:ext cx="502284" cy="105410"/>
            </a:xfrm>
            <a:custGeom>
              <a:avLst/>
              <a:gdLst/>
              <a:ahLst/>
              <a:cxnLst/>
              <a:rect l="l" t="t" r="r" b="b"/>
              <a:pathLst>
                <a:path w="502284" h="105410">
                  <a:moveTo>
                    <a:pt x="250935" y="0"/>
                  </a:moveTo>
                  <a:lnTo>
                    <a:pt x="184227" y="1876"/>
                  </a:lnTo>
                  <a:lnTo>
                    <a:pt x="124283" y="7170"/>
                  </a:lnTo>
                  <a:lnTo>
                    <a:pt x="73497" y="15383"/>
                  </a:lnTo>
                  <a:lnTo>
                    <a:pt x="34260" y="26014"/>
                  </a:lnTo>
                  <a:lnTo>
                    <a:pt x="0" y="52529"/>
                  </a:lnTo>
                  <a:lnTo>
                    <a:pt x="8963" y="66492"/>
                  </a:lnTo>
                  <a:lnTo>
                    <a:pt x="73497" y="89671"/>
                  </a:lnTo>
                  <a:lnTo>
                    <a:pt x="124283" y="97885"/>
                  </a:lnTo>
                  <a:lnTo>
                    <a:pt x="184227" y="103181"/>
                  </a:lnTo>
                  <a:lnTo>
                    <a:pt x="250935" y="105058"/>
                  </a:lnTo>
                  <a:lnTo>
                    <a:pt x="317647" y="103181"/>
                  </a:lnTo>
                  <a:lnTo>
                    <a:pt x="377593" y="97885"/>
                  </a:lnTo>
                  <a:lnTo>
                    <a:pt x="428380" y="89671"/>
                  </a:lnTo>
                  <a:lnTo>
                    <a:pt x="467617" y="79040"/>
                  </a:lnTo>
                  <a:lnTo>
                    <a:pt x="501876" y="52529"/>
                  </a:lnTo>
                  <a:lnTo>
                    <a:pt x="492913" y="38563"/>
                  </a:lnTo>
                  <a:lnTo>
                    <a:pt x="428380" y="15383"/>
                  </a:lnTo>
                  <a:lnTo>
                    <a:pt x="377593" y="7170"/>
                  </a:lnTo>
                  <a:lnTo>
                    <a:pt x="317647" y="1876"/>
                  </a:lnTo>
                  <a:lnTo>
                    <a:pt x="25093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" name="object 37"/>
            <p:cNvSpPr/>
            <p:nvPr/>
          </p:nvSpPr>
          <p:spPr>
            <a:xfrm>
              <a:off x="9250721" y="3983000"/>
              <a:ext cx="502284" cy="105410"/>
            </a:xfrm>
            <a:custGeom>
              <a:avLst/>
              <a:gdLst/>
              <a:ahLst/>
              <a:cxnLst/>
              <a:rect l="l" t="t" r="r" b="b"/>
              <a:pathLst>
                <a:path w="502284" h="105410">
                  <a:moveTo>
                    <a:pt x="501876" y="52529"/>
                  </a:moveTo>
                  <a:lnTo>
                    <a:pt x="467617" y="79040"/>
                  </a:lnTo>
                  <a:lnTo>
                    <a:pt x="428380" y="89671"/>
                  </a:lnTo>
                  <a:lnTo>
                    <a:pt x="377593" y="97885"/>
                  </a:lnTo>
                  <a:lnTo>
                    <a:pt x="317647" y="103181"/>
                  </a:lnTo>
                  <a:lnTo>
                    <a:pt x="250935" y="105058"/>
                  </a:lnTo>
                  <a:lnTo>
                    <a:pt x="184227" y="103181"/>
                  </a:lnTo>
                  <a:lnTo>
                    <a:pt x="124283" y="97885"/>
                  </a:lnTo>
                  <a:lnTo>
                    <a:pt x="73497" y="89671"/>
                  </a:lnTo>
                  <a:lnTo>
                    <a:pt x="34260" y="79040"/>
                  </a:lnTo>
                  <a:lnTo>
                    <a:pt x="0" y="52529"/>
                  </a:lnTo>
                  <a:lnTo>
                    <a:pt x="8963" y="38563"/>
                  </a:lnTo>
                  <a:lnTo>
                    <a:pt x="73497" y="15383"/>
                  </a:lnTo>
                  <a:lnTo>
                    <a:pt x="124283" y="7170"/>
                  </a:lnTo>
                  <a:lnTo>
                    <a:pt x="184227" y="1876"/>
                  </a:lnTo>
                  <a:lnTo>
                    <a:pt x="250935" y="0"/>
                  </a:lnTo>
                  <a:lnTo>
                    <a:pt x="317647" y="1876"/>
                  </a:lnTo>
                  <a:lnTo>
                    <a:pt x="377593" y="7170"/>
                  </a:lnTo>
                  <a:lnTo>
                    <a:pt x="428380" y="15383"/>
                  </a:lnTo>
                  <a:lnTo>
                    <a:pt x="467617" y="26014"/>
                  </a:lnTo>
                  <a:lnTo>
                    <a:pt x="501876" y="52529"/>
                  </a:lnTo>
                  <a:close/>
                </a:path>
              </a:pathLst>
            </a:custGeom>
            <a:ln w="11963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38"/>
            <p:cNvSpPr/>
            <p:nvPr/>
          </p:nvSpPr>
          <p:spPr>
            <a:xfrm>
              <a:off x="9250721" y="4175607"/>
              <a:ext cx="502284" cy="52705"/>
            </a:xfrm>
            <a:custGeom>
              <a:avLst/>
              <a:gdLst/>
              <a:ahLst/>
              <a:cxnLst/>
              <a:rect l="l" t="t" r="r" b="b"/>
              <a:pathLst>
                <a:path w="502284" h="52704">
                  <a:moveTo>
                    <a:pt x="501876" y="0"/>
                  </a:moveTo>
                  <a:lnTo>
                    <a:pt x="0" y="0"/>
                  </a:lnTo>
                  <a:lnTo>
                    <a:pt x="9003" y="13922"/>
                  </a:lnTo>
                  <a:lnTo>
                    <a:pt x="34386" y="26459"/>
                  </a:lnTo>
                  <a:lnTo>
                    <a:pt x="73711" y="37098"/>
                  </a:lnTo>
                  <a:lnTo>
                    <a:pt x="124536" y="45330"/>
                  </a:lnTo>
                  <a:lnTo>
                    <a:pt x="184424" y="50644"/>
                  </a:lnTo>
                  <a:lnTo>
                    <a:pt x="250935" y="52529"/>
                  </a:lnTo>
                  <a:lnTo>
                    <a:pt x="317446" y="50644"/>
                  </a:lnTo>
                  <a:lnTo>
                    <a:pt x="377335" y="45330"/>
                  </a:lnTo>
                  <a:lnTo>
                    <a:pt x="428162" y="37098"/>
                  </a:lnTo>
                  <a:lnTo>
                    <a:pt x="467488" y="26459"/>
                  </a:lnTo>
                  <a:lnTo>
                    <a:pt x="50187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" name="object 39"/>
            <p:cNvSpPr/>
            <p:nvPr/>
          </p:nvSpPr>
          <p:spPr>
            <a:xfrm>
              <a:off x="9250721" y="4175607"/>
              <a:ext cx="502284" cy="52705"/>
            </a:xfrm>
            <a:custGeom>
              <a:avLst/>
              <a:gdLst/>
              <a:ahLst/>
              <a:cxnLst/>
              <a:rect l="l" t="t" r="r" b="b"/>
              <a:pathLst>
                <a:path w="502284" h="52704">
                  <a:moveTo>
                    <a:pt x="501876" y="0"/>
                  </a:moveTo>
                  <a:lnTo>
                    <a:pt x="467488" y="26459"/>
                  </a:lnTo>
                  <a:lnTo>
                    <a:pt x="428162" y="37098"/>
                  </a:lnTo>
                  <a:lnTo>
                    <a:pt x="377335" y="45330"/>
                  </a:lnTo>
                  <a:lnTo>
                    <a:pt x="317446" y="50644"/>
                  </a:lnTo>
                  <a:lnTo>
                    <a:pt x="250935" y="52529"/>
                  </a:lnTo>
                  <a:lnTo>
                    <a:pt x="184424" y="50644"/>
                  </a:lnTo>
                  <a:lnTo>
                    <a:pt x="124536" y="45330"/>
                  </a:lnTo>
                  <a:lnTo>
                    <a:pt x="73711" y="37098"/>
                  </a:lnTo>
                  <a:lnTo>
                    <a:pt x="34386" y="26459"/>
                  </a:lnTo>
                  <a:lnTo>
                    <a:pt x="9003" y="13922"/>
                  </a:lnTo>
                  <a:lnTo>
                    <a:pt x="0" y="0"/>
                  </a:lnTo>
                </a:path>
              </a:pathLst>
            </a:custGeom>
            <a:ln w="11748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" name="object 40"/>
            <p:cNvSpPr/>
            <p:nvPr/>
          </p:nvSpPr>
          <p:spPr>
            <a:xfrm>
              <a:off x="9238021" y="3135480"/>
              <a:ext cx="502284" cy="332740"/>
            </a:xfrm>
            <a:custGeom>
              <a:avLst/>
              <a:gdLst/>
              <a:ahLst/>
              <a:cxnLst/>
              <a:rect l="l" t="t" r="r" b="b"/>
              <a:pathLst>
                <a:path w="502284" h="332739">
                  <a:moveTo>
                    <a:pt x="501876" y="0"/>
                  </a:moveTo>
                  <a:lnTo>
                    <a:pt x="0" y="0"/>
                  </a:lnTo>
                  <a:lnTo>
                    <a:pt x="0" y="280152"/>
                  </a:lnTo>
                  <a:lnTo>
                    <a:pt x="34387" y="306612"/>
                  </a:lnTo>
                  <a:lnTo>
                    <a:pt x="73711" y="317251"/>
                  </a:lnTo>
                  <a:lnTo>
                    <a:pt x="124537" y="325483"/>
                  </a:lnTo>
                  <a:lnTo>
                    <a:pt x="184425" y="330797"/>
                  </a:lnTo>
                  <a:lnTo>
                    <a:pt x="250935" y="332682"/>
                  </a:lnTo>
                  <a:lnTo>
                    <a:pt x="317446" y="330797"/>
                  </a:lnTo>
                  <a:lnTo>
                    <a:pt x="377335" y="325483"/>
                  </a:lnTo>
                  <a:lnTo>
                    <a:pt x="428162" y="317251"/>
                  </a:lnTo>
                  <a:lnTo>
                    <a:pt x="467488" y="306612"/>
                  </a:lnTo>
                  <a:lnTo>
                    <a:pt x="501876" y="280152"/>
                  </a:lnTo>
                  <a:lnTo>
                    <a:pt x="50187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1" name="object 41"/>
            <p:cNvSpPr/>
            <p:nvPr/>
          </p:nvSpPr>
          <p:spPr>
            <a:xfrm>
              <a:off x="9238021" y="3135480"/>
              <a:ext cx="502284" cy="332740"/>
            </a:xfrm>
            <a:custGeom>
              <a:avLst/>
              <a:gdLst/>
              <a:ahLst/>
              <a:cxnLst/>
              <a:rect l="l" t="t" r="r" b="b"/>
              <a:pathLst>
                <a:path w="502284" h="332739">
                  <a:moveTo>
                    <a:pt x="0" y="0"/>
                  </a:moveTo>
                  <a:lnTo>
                    <a:pt x="0" y="280152"/>
                  </a:lnTo>
                  <a:lnTo>
                    <a:pt x="34387" y="306612"/>
                  </a:lnTo>
                  <a:lnTo>
                    <a:pt x="73711" y="317251"/>
                  </a:lnTo>
                  <a:lnTo>
                    <a:pt x="124537" y="325483"/>
                  </a:lnTo>
                  <a:lnTo>
                    <a:pt x="184425" y="330797"/>
                  </a:lnTo>
                  <a:lnTo>
                    <a:pt x="250935" y="332682"/>
                  </a:lnTo>
                  <a:lnTo>
                    <a:pt x="317446" y="330797"/>
                  </a:lnTo>
                  <a:lnTo>
                    <a:pt x="377335" y="325483"/>
                  </a:lnTo>
                  <a:lnTo>
                    <a:pt x="428162" y="317251"/>
                  </a:lnTo>
                  <a:lnTo>
                    <a:pt x="467488" y="306612"/>
                  </a:lnTo>
                  <a:lnTo>
                    <a:pt x="501876" y="280152"/>
                  </a:lnTo>
                  <a:lnTo>
                    <a:pt x="501876" y="0"/>
                  </a:lnTo>
                </a:path>
              </a:pathLst>
            </a:custGeom>
            <a:ln w="1378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2" name="object 42"/>
            <p:cNvSpPr/>
            <p:nvPr/>
          </p:nvSpPr>
          <p:spPr>
            <a:xfrm>
              <a:off x="9238021" y="3082951"/>
              <a:ext cx="502284" cy="105410"/>
            </a:xfrm>
            <a:custGeom>
              <a:avLst/>
              <a:gdLst/>
              <a:ahLst/>
              <a:cxnLst/>
              <a:rect l="l" t="t" r="r" b="b"/>
              <a:pathLst>
                <a:path w="502284" h="105410">
                  <a:moveTo>
                    <a:pt x="250935" y="0"/>
                  </a:moveTo>
                  <a:lnTo>
                    <a:pt x="184226" y="1876"/>
                  </a:lnTo>
                  <a:lnTo>
                    <a:pt x="124283" y="7170"/>
                  </a:lnTo>
                  <a:lnTo>
                    <a:pt x="73497" y="15383"/>
                  </a:lnTo>
                  <a:lnTo>
                    <a:pt x="34260" y="26014"/>
                  </a:lnTo>
                  <a:lnTo>
                    <a:pt x="0" y="52529"/>
                  </a:lnTo>
                  <a:lnTo>
                    <a:pt x="8963" y="66492"/>
                  </a:lnTo>
                  <a:lnTo>
                    <a:pt x="73497" y="89671"/>
                  </a:lnTo>
                  <a:lnTo>
                    <a:pt x="124283" y="97885"/>
                  </a:lnTo>
                  <a:lnTo>
                    <a:pt x="184227" y="103181"/>
                  </a:lnTo>
                  <a:lnTo>
                    <a:pt x="250935" y="105058"/>
                  </a:lnTo>
                  <a:lnTo>
                    <a:pt x="317648" y="103181"/>
                  </a:lnTo>
                  <a:lnTo>
                    <a:pt x="377593" y="97885"/>
                  </a:lnTo>
                  <a:lnTo>
                    <a:pt x="428380" y="89671"/>
                  </a:lnTo>
                  <a:lnTo>
                    <a:pt x="467617" y="79040"/>
                  </a:lnTo>
                  <a:lnTo>
                    <a:pt x="501876" y="52529"/>
                  </a:lnTo>
                  <a:lnTo>
                    <a:pt x="492912" y="38563"/>
                  </a:lnTo>
                  <a:lnTo>
                    <a:pt x="428380" y="15383"/>
                  </a:lnTo>
                  <a:lnTo>
                    <a:pt x="377593" y="7170"/>
                  </a:lnTo>
                  <a:lnTo>
                    <a:pt x="317647" y="1876"/>
                  </a:lnTo>
                  <a:lnTo>
                    <a:pt x="25093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3" name="object 43"/>
            <p:cNvSpPr/>
            <p:nvPr/>
          </p:nvSpPr>
          <p:spPr>
            <a:xfrm>
              <a:off x="9238021" y="3082951"/>
              <a:ext cx="502284" cy="105410"/>
            </a:xfrm>
            <a:custGeom>
              <a:avLst/>
              <a:gdLst/>
              <a:ahLst/>
              <a:cxnLst/>
              <a:rect l="l" t="t" r="r" b="b"/>
              <a:pathLst>
                <a:path w="502284" h="105410">
                  <a:moveTo>
                    <a:pt x="501876" y="52529"/>
                  </a:moveTo>
                  <a:lnTo>
                    <a:pt x="467617" y="79040"/>
                  </a:lnTo>
                  <a:lnTo>
                    <a:pt x="428380" y="89671"/>
                  </a:lnTo>
                  <a:lnTo>
                    <a:pt x="377593" y="97885"/>
                  </a:lnTo>
                  <a:lnTo>
                    <a:pt x="317648" y="103181"/>
                  </a:lnTo>
                  <a:lnTo>
                    <a:pt x="250935" y="105058"/>
                  </a:lnTo>
                  <a:lnTo>
                    <a:pt x="184227" y="103181"/>
                  </a:lnTo>
                  <a:lnTo>
                    <a:pt x="124283" y="97885"/>
                  </a:lnTo>
                  <a:lnTo>
                    <a:pt x="73497" y="89671"/>
                  </a:lnTo>
                  <a:lnTo>
                    <a:pt x="34260" y="79040"/>
                  </a:lnTo>
                  <a:lnTo>
                    <a:pt x="0" y="52529"/>
                  </a:lnTo>
                  <a:lnTo>
                    <a:pt x="8963" y="38563"/>
                  </a:lnTo>
                  <a:lnTo>
                    <a:pt x="73497" y="15383"/>
                  </a:lnTo>
                  <a:lnTo>
                    <a:pt x="124283" y="7170"/>
                  </a:lnTo>
                  <a:lnTo>
                    <a:pt x="184226" y="1876"/>
                  </a:lnTo>
                  <a:lnTo>
                    <a:pt x="250935" y="0"/>
                  </a:lnTo>
                  <a:lnTo>
                    <a:pt x="317647" y="1876"/>
                  </a:lnTo>
                  <a:lnTo>
                    <a:pt x="377593" y="7170"/>
                  </a:lnTo>
                  <a:lnTo>
                    <a:pt x="428380" y="15383"/>
                  </a:lnTo>
                  <a:lnTo>
                    <a:pt x="467617" y="26014"/>
                  </a:lnTo>
                  <a:lnTo>
                    <a:pt x="501876" y="52529"/>
                  </a:lnTo>
                  <a:close/>
                </a:path>
              </a:pathLst>
            </a:custGeom>
            <a:ln w="11963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4" name="object 44"/>
            <p:cNvSpPr/>
            <p:nvPr/>
          </p:nvSpPr>
          <p:spPr>
            <a:xfrm>
              <a:off x="9238021" y="3275558"/>
              <a:ext cx="502284" cy="52705"/>
            </a:xfrm>
            <a:custGeom>
              <a:avLst/>
              <a:gdLst/>
              <a:ahLst/>
              <a:cxnLst/>
              <a:rect l="l" t="t" r="r" b="b"/>
              <a:pathLst>
                <a:path w="502284" h="52704">
                  <a:moveTo>
                    <a:pt x="501876" y="0"/>
                  </a:moveTo>
                  <a:lnTo>
                    <a:pt x="0" y="0"/>
                  </a:lnTo>
                  <a:lnTo>
                    <a:pt x="9003" y="13922"/>
                  </a:lnTo>
                  <a:lnTo>
                    <a:pt x="73711" y="37098"/>
                  </a:lnTo>
                  <a:lnTo>
                    <a:pt x="124536" y="45330"/>
                  </a:lnTo>
                  <a:lnTo>
                    <a:pt x="184424" y="50644"/>
                  </a:lnTo>
                  <a:lnTo>
                    <a:pt x="250935" y="52529"/>
                  </a:lnTo>
                  <a:lnTo>
                    <a:pt x="317446" y="50644"/>
                  </a:lnTo>
                  <a:lnTo>
                    <a:pt x="377335" y="45330"/>
                  </a:lnTo>
                  <a:lnTo>
                    <a:pt x="428162" y="37098"/>
                  </a:lnTo>
                  <a:lnTo>
                    <a:pt x="467488" y="26459"/>
                  </a:lnTo>
                  <a:lnTo>
                    <a:pt x="50187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5" name="object 45"/>
            <p:cNvSpPr/>
            <p:nvPr/>
          </p:nvSpPr>
          <p:spPr>
            <a:xfrm>
              <a:off x="9238021" y="3275558"/>
              <a:ext cx="502284" cy="52705"/>
            </a:xfrm>
            <a:custGeom>
              <a:avLst/>
              <a:gdLst/>
              <a:ahLst/>
              <a:cxnLst/>
              <a:rect l="l" t="t" r="r" b="b"/>
              <a:pathLst>
                <a:path w="502284" h="52704">
                  <a:moveTo>
                    <a:pt x="501876" y="0"/>
                  </a:moveTo>
                  <a:lnTo>
                    <a:pt x="467488" y="26459"/>
                  </a:lnTo>
                  <a:lnTo>
                    <a:pt x="428162" y="37098"/>
                  </a:lnTo>
                  <a:lnTo>
                    <a:pt x="377335" y="45330"/>
                  </a:lnTo>
                  <a:lnTo>
                    <a:pt x="317446" y="50644"/>
                  </a:lnTo>
                  <a:lnTo>
                    <a:pt x="250935" y="52529"/>
                  </a:lnTo>
                  <a:lnTo>
                    <a:pt x="184424" y="50644"/>
                  </a:lnTo>
                  <a:lnTo>
                    <a:pt x="124536" y="45330"/>
                  </a:lnTo>
                  <a:lnTo>
                    <a:pt x="73711" y="37098"/>
                  </a:lnTo>
                  <a:lnTo>
                    <a:pt x="34386" y="26459"/>
                  </a:lnTo>
                  <a:lnTo>
                    <a:pt x="9003" y="13922"/>
                  </a:lnTo>
                  <a:lnTo>
                    <a:pt x="0" y="0"/>
                  </a:lnTo>
                </a:path>
              </a:pathLst>
            </a:custGeom>
            <a:ln w="11748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6" name="object 46"/>
            <p:cNvSpPr/>
            <p:nvPr/>
          </p:nvSpPr>
          <p:spPr>
            <a:xfrm>
              <a:off x="9238021" y="2844015"/>
              <a:ext cx="502284" cy="332740"/>
            </a:xfrm>
            <a:custGeom>
              <a:avLst/>
              <a:gdLst/>
              <a:ahLst/>
              <a:cxnLst/>
              <a:rect l="l" t="t" r="r" b="b"/>
              <a:pathLst>
                <a:path w="502284" h="332739">
                  <a:moveTo>
                    <a:pt x="501876" y="0"/>
                  </a:moveTo>
                  <a:lnTo>
                    <a:pt x="0" y="0"/>
                  </a:lnTo>
                  <a:lnTo>
                    <a:pt x="0" y="280152"/>
                  </a:lnTo>
                  <a:lnTo>
                    <a:pt x="9003" y="294075"/>
                  </a:lnTo>
                  <a:lnTo>
                    <a:pt x="73711" y="317251"/>
                  </a:lnTo>
                  <a:lnTo>
                    <a:pt x="124537" y="325483"/>
                  </a:lnTo>
                  <a:lnTo>
                    <a:pt x="184425" y="330797"/>
                  </a:lnTo>
                  <a:lnTo>
                    <a:pt x="250935" y="332682"/>
                  </a:lnTo>
                  <a:lnTo>
                    <a:pt x="317446" y="330797"/>
                  </a:lnTo>
                  <a:lnTo>
                    <a:pt x="377335" y="325483"/>
                  </a:lnTo>
                  <a:lnTo>
                    <a:pt x="428162" y="317251"/>
                  </a:lnTo>
                  <a:lnTo>
                    <a:pt x="467488" y="306612"/>
                  </a:lnTo>
                  <a:lnTo>
                    <a:pt x="501876" y="280153"/>
                  </a:lnTo>
                  <a:lnTo>
                    <a:pt x="50187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7" name="object 47"/>
            <p:cNvSpPr/>
            <p:nvPr/>
          </p:nvSpPr>
          <p:spPr>
            <a:xfrm>
              <a:off x="9238021" y="2844015"/>
              <a:ext cx="502284" cy="332740"/>
            </a:xfrm>
            <a:custGeom>
              <a:avLst/>
              <a:gdLst/>
              <a:ahLst/>
              <a:cxnLst/>
              <a:rect l="l" t="t" r="r" b="b"/>
              <a:pathLst>
                <a:path w="502284" h="332739">
                  <a:moveTo>
                    <a:pt x="0" y="0"/>
                  </a:moveTo>
                  <a:lnTo>
                    <a:pt x="0" y="280152"/>
                  </a:lnTo>
                  <a:lnTo>
                    <a:pt x="34387" y="306612"/>
                  </a:lnTo>
                  <a:lnTo>
                    <a:pt x="73711" y="317251"/>
                  </a:lnTo>
                  <a:lnTo>
                    <a:pt x="124537" y="325483"/>
                  </a:lnTo>
                  <a:lnTo>
                    <a:pt x="184425" y="330797"/>
                  </a:lnTo>
                  <a:lnTo>
                    <a:pt x="250935" y="332682"/>
                  </a:lnTo>
                  <a:lnTo>
                    <a:pt x="317446" y="330797"/>
                  </a:lnTo>
                  <a:lnTo>
                    <a:pt x="377335" y="325483"/>
                  </a:lnTo>
                  <a:lnTo>
                    <a:pt x="428162" y="317251"/>
                  </a:lnTo>
                  <a:lnTo>
                    <a:pt x="467488" y="306612"/>
                  </a:lnTo>
                  <a:lnTo>
                    <a:pt x="501876" y="280153"/>
                  </a:lnTo>
                  <a:lnTo>
                    <a:pt x="501876" y="0"/>
                  </a:lnTo>
                </a:path>
              </a:pathLst>
            </a:custGeom>
            <a:ln w="1378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8" name="object 48"/>
            <p:cNvSpPr/>
            <p:nvPr/>
          </p:nvSpPr>
          <p:spPr>
            <a:xfrm>
              <a:off x="9238021" y="2791486"/>
              <a:ext cx="502284" cy="105410"/>
            </a:xfrm>
            <a:custGeom>
              <a:avLst/>
              <a:gdLst/>
              <a:ahLst/>
              <a:cxnLst/>
              <a:rect l="l" t="t" r="r" b="b"/>
              <a:pathLst>
                <a:path w="502284" h="105410">
                  <a:moveTo>
                    <a:pt x="250935" y="0"/>
                  </a:moveTo>
                  <a:lnTo>
                    <a:pt x="184226" y="1876"/>
                  </a:lnTo>
                  <a:lnTo>
                    <a:pt x="124283" y="7170"/>
                  </a:lnTo>
                  <a:lnTo>
                    <a:pt x="73497" y="15383"/>
                  </a:lnTo>
                  <a:lnTo>
                    <a:pt x="34260" y="26014"/>
                  </a:lnTo>
                  <a:lnTo>
                    <a:pt x="0" y="52529"/>
                  </a:lnTo>
                  <a:lnTo>
                    <a:pt x="8963" y="66492"/>
                  </a:lnTo>
                  <a:lnTo>
                    <a:pt x="73497" y="89671"/>
                  </a:lnTo>
                  <a:lnTo>
                    <a:pt x="124283" y="97885"/>
                  </a:lnTo>
                  <a:lnTo>
                    <a:pt x="184227" y="103181"/>
                  </a:lnTo>
                  <a:lnTo>
                    <a:pt x="250935" y="105058"/>
                  </a:lnTo>
                  <a:lnTo>
                    <a:pt x="317648" y="103181"/>
                  </a:lnTo>
                  <a:lnTo>
                    <a:pt x="377593" y="97885"/>
                  </a:lnTo>
                  <a:lnTo>
                    <a:pt x="428380" y="89671"/>
                  </a:lnTo>
                  <a:lnTo>
                    <a:pt x="467617" y="79040"/>
                  </a:lnTo>
                  <a:lnTo>
                    <a:pt x="501876" y="52529"/>
                  </a:lnTo>
                  <a:lnTo>
                    <a:pt x="492912" y="38563"/>
                  </a:lnTo>
                  <a:lnTo>
                    <a:pt x="428380" y="15384"/>
                  </a:lnTo>
                  <a:lnTo>
                    <a:pt x="377593" y="7170"/>
                  </a:lnTo>
                  <a:lnTo>
                    <a:pt x="317647" y="1876"/>
                  </a:lnTo>
                  <a:lnTo>
                    <a:pt x="25093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9" name="object 49"/>
            <p:cNvSpPr/>
            <p:nvPr/>
          </p:nvSpPr>
          <p:spPr>
            <a:xfrm>
              <a:off x="9238021" y="2791486"/>
              <a:ext cx="502284" cy="105410"/>
            </a:xfrm>
            <a:custGeom>
              <a:avLst/>
              <a:gdLst/>
              <a:ahLst/>
              <a:cxnLst/>
              <a:rect l="l" t="t" r="r" b="b"/>
              <a:pathLst>
                <a:path w="502284" h="105410">
                  <a:moveTo>
                    <a:pt x="501876" y="52529"/>
                  </a:moveTo>
                  <a:lnTo>
                    <a:pt x="467617" y="79040"/>
                  </a:lnTo>
                  <a:lnTo>
                    <a:pt x="428380" y="89671"/>
                  </a:lnTo>
                  <a:lnTo>
                    <a:pt x="377593" y="97885"/>
                  </a:lnTo>
                  <a:lnTo>
                    <a:pt x="317648" y="103181"/>
                  </a:lnTo>
                  <a:lnTo>
                    <a:pt x="250935" y="105058"/>
                  </a:lnTo>
                  <a:lnTo>
                    <a:pt x="184227" y="103181"/>
                  </a:lnTo>
                  <a:lnTo>
                    <a:pt x="124283" y="97885"/>
                  </a:lnTo>
                  <a:lnTo>
                    <a:pt x="73497" y="89671"/>
                  </a:lnTo>
                  <a:lnTo>
                    <a:pt x="34260" y="79040"/>
                  </a:lnTo>
                  <a:lnTo>
                    <a:pt x="0" y="52529"/>
                  </a:lnTo>
                  <a:lnTo>
                    <a:pt x="8963" y="38563"/>
                  </a:lnTo>
                  <a:lnTo>
                    <a:pt x="73497" y="15383"/>
                  </a:lnTo>
                  <a:lnTo>
                    <a:pt x="124283" y="7170"/>
                  </a:lnTo>
                  <a:lnTo>
                    <a:pt x="184226" y="1876"/>
                  </a:lnTo>
                  <a:lnTo>
                    <a:pt x="250935" y="0"/>
                  </a:lnTo>
                  <a:lnTo>
                    <a:pt x="317647" y="1876"/>
                  </a:lnTo>
                  <a:lnTo>
                    <a:pt x="377593" y="7170"/>
                  </a:lnTo>
                  <a:lnTo>
                    <a:pt x="428380" y="15384"/>
                  </a:lnTo>
                  <a:lnTo>
                    <a:pt x="467617" y="26015"/>
                  </a:lnTo>
                  <a:lnTo>
                    <a:pt x="501876" y="52529"/>
                  </a:lnTo>
                  <a:close/>
                </a:path>
              </a:pathLst>
            </a:custGeom>
            <a:ln w="11963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0" name="object 50"/>
            <p:cNvSpPr/>
            <p:nvPr/>
          </p:nvSpPr>
          <p:spPr>
            <a:xfrm>
              <a:off x="9238021" y="2984093"/>
              <a:ext cx="502284" cy="52705"/>
            </a:xfrm>
            <a:custGeom>
              <a:avLst/>
              <a:gdLst/>
              <a:ahLst/>
              <a:cxnLst/>
              <a:rect l="l" t="t" r="r" b="b"/>
              <a:pathLst>
                <a:path w="502284" h="52705">
                  <a:moveTo>
                    <a:pt x="501876" y="0"/>
                  </a:moveTo>
                  <a:lnTo>
                    <a:pt x="0" y="0"/>
                  </a:lnTo>
                  <a:lnTo>
                    <a:pt x="9003" y="13922"/>
                  </a:lnTo>
                  <a:lnTo>
                    <a:pt x="34386" y="26459"/>
                  </a:lnTo>
                  <a:lnTo>
                    <a:pt x="73711" y="37098"/>
                  </a:lnTo>
                  <a:lnTo>
                    <a:pt x="124536" y="45330"/>
                  </a:lnTo>
                  <a:lnTo>
                    <a:pt x="184424" y="50644"/>
                  </a:lnTo>
                  <a:lnTo>
                    <a:pt x="250935" y="52529"/>
                  </a:lnTo>
                  <a:lnTo>
                    <a:pt x="317446" y="50644"/>
                  </a:lnTo>
                  <a:lnTo>
                    <a:pt x="377335" y="45330"/>
                  </a:lnTo>
                  <a:lnTo>
                    <a:pt x="428162" y="37098"/>
                  </a:lnTo>
                  <a:lnTo>
                    <a:pt x="467488" y="26459"/>
                  </a:lnTo>
                  <a:lnTo>
                    <a:pt x="50187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1" name="object 51"/>
            <p:cNvSpPr/>
            <p:nvPr/>
          </p:nvSpPr>
          <p:spPr>
            <a:xfrm>
              <a:off x="9238021" y="2984093"/>
              <a:ext cx="502284" cy="52705"/>
            </a:xfrm>
            <a:custGeom>
              <a:avLst/>
              <a:gdLst/>
              <a:ahLst/>
              <a:cxnLst/>
              <a:rect l="l" t="t" r="r" b="b"/>
              <a:pathLst>
                <a:path w="502284" h="52705">
                  <a:moveTo>
                    <a:pt x="501876" y="0"/>
                  </a:moveTo>
                  <a:lnTo>
                    <a:pt x="467488" y="26459"/>
                  </a:lnTo>
                  <a:lnTo>
                    <a:pt x="428162" y="37098"/>
                  </a:lnTo>
                  <a:lnTo>
                    <a:pt x="377335" y="45330"/>
                  </a:lnTo>
                  <a:lnTo>
                    <a:pt x="317446" y="50644"/>
                  </a:lnTo>
                  <a:lnTo>
                    <a:pt x="250935" y="52529"/>
                  </a:lnTo>
                  <a:lnTo>
                    <a:pt x="184424" y="50644"/>
                  </a:lnTo>
                  <a:lnTo>
                    <a:pt x="124536" y="45330"/>
                  </a:lnTo>
                  <a:lnTo>
                    <a:pt x="73711" y="37098"/>
                  </a:lnTo>
                  <a:lnTo>
                    <a:pt x="34386" y="26459"/>
                  </a:lnTo>
                  <a:lnTo>
                    <a:pt x="9003" y="13922"/>
                  </a:lnTo>
                  <a:lnTo>
                    <a:pt x="0" y="0"/>
                  </a:lnTo>
                </a:path>
              </a:pathLst>
            </a:custGeom>
            <a:ln w="11748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2" name="object 52"/>
            <p:cNvSpPr/>
            <p:nvPr/>
          </p:nvSpPr>
          <p:spPr>
            <a:xfrm>
              <a:off x="10584159" y="3262232"/>
              <a:ext cx="193675" cy="193675"/>
            </a:xfrm>
            <a:custGeom>
              <a:avLst/>
              <a:gdLst/>
              <a:ahLst/>
              <a:cxnLst/>
              <a:rect l="l" t="t" r="r" b="b"/>
              <a:pathLst>
                <a:path w="193675" h="193675">
                  <a:moveTo>
                    <a:pt x="193193" y="193188"/>
                  </a:moveTo>
                  <a:lnTo>
                    <a:pt x="0" y="0"/>
                  </a:lnTo>
                </a:path>
              </a:pathLst>
            </a:custGeom>
            <a:ln w="20282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3" name="object 53"/>
            <p:cNvSpPr/>
            <p:nvPr/>
          </p:nvSpPr>
          <p:spPr>
            <a:xfrm>
              <a:off x="10168877" y="2846943"/>
              <a:ext cx="487045" cy="487045"/>
            </a:xfrm>
            <a:custGeom>
              <a:avLst/>
              <a:gdLst/>
              <a:ahLst/>
              <a:cxnLst/>
              <a:rect l="l" t="t" r="r" b="b"/>
              <a:pathLst>
                <a:path w="487045" h="487045">
                  <a:moveTo>
                    <a:pt x="243386" y="0"/>
                  </a:moveTo>
                  <a:lnTo>
                    <a:pt x="194337" y="4944"/>
                  </a:lnTo>
                  <a:lnTo>
                    <a:pt x="148652" y="19126"/>
                  </a:lnTo>
                  <a:lnTo>
                    <a:pt x="107309" y="41567"/>
                  </a:lnTo>
                  <a:lnTo>
                    <a:pt x="71288" y="71287"/>
                  </a:lnTo>
                  <a:lnTo>
                    <a:pt x="41568" y="107308"/>
                  </a:lnTo>
                  <a:lnTo>
                    <a:pt x="19127" y="148652"/>
                  </a:lnTo>
                  <a:lnTo>
                    <a:pt x="4945" y="194340"/>
                  </a:lnTo>
                  <a:lnTo>
                    <a:pt x="0" y="243392"/>
                  </a:lnTo>
                  <a:lnTo>
                    <a:pt x="4945" y="292441"/>
                  </a:lnTo>
                  <a:lnTo>
                    <a:pt x="19127" y="338127"/>
                  </a:lnTo>
                  <a:lnTo>
                    <a:pt x="41568" y="379471"/>
                  </a:lnTo>
                  <a:lnTo>
                    <a:pt x="71289" y="415493"/>
                  </a:lnTo>
                  <a:lnTo>
                    <a:pt x="107310" y="445214"/>
                  </a:lnTo>
                  <a:lnTo>
                    <a:pt x="148652" y="467656"/>
                  </a:lnTo>
                  <a:lnTo>
                    <a:pt x="194337" y="481840"/>
                  </a:lnTo>
                  <a:lnTo>
                    <a:pt x="243386" y="486785"/>
                  </a:lnTo>
                  <a:lnTo>
                    <a:pt x="292439" y="481840"/>
                  </a:lnTo>
                  <a:lnTo>
                    <a:pt x="338126" y="467657"/>
                  </a:lnTo>
                  <a:lnTo>
                    <a:pt x="379470" y="445215"/>
                  </a:lnTo>
                  <a:lnTo>
                    <a:pt x="415491" y="415493"/>
                  </a:lnTo>
                  <a:lnTo>
                    <a:pt x="445212" y="379471"/>
                  </a:lnTo>
                  <a:lnTo>
                    <a:pt x="467652" y="338127"/>
                  </a:lnTo>
                  <a:lnTo>
                    <a:pt x="481834" y="292441"/>
                  </a:lnTo>
                  <a:lnTo>
                    <a:pt x="486779" y="243392"/>
                  </a:lnTo>
                  <a:lnTo>
                    <a:pt x="481834" y="194340"/>
                  </a:lnTo>
                  <a:lnTo>
                    <a:pt x="467652" y="148652"/>
                  </a:lnTo>
                  <a:lnTo>
                    <a:pt x="445211" y="107308"/>
                  </a:lnTo>
                  <a:lnTo>
                    <a:pt x="415491" y="71287"/>
                  </a:lnTo>
                  <a:lnTo>
                    <a:pt x="379470" y="41567"/>
                  </a:lnTo>
                  <a:lnTo>
                    <a:pt x="338126" y="19126"/>
                  </a:lnTo>
                  <a:lnTo>
                    <a:pt x="292438" y="4944"/>
                  </a:lnTo>
                  <a:lnTo>
                    <a:pt x="24338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4" name="object 54"/>
            <p:cNvSpPr/>
            <p:nvPr/>
          </p:nvSpPr>
          <p:spPr>
            <a:xfrm>
              <a:off x="10168877" y="2846943"/>
              <a:ext cx="487045" cy="487045"/>
            </a:xfrm>
            <a:custGeom>
              <a:avLst/>
              <a:gdLst/>
              <a:ahLst/>
              <a:cxnLst/>
              <a:rect l="l" t="t" r="r" b="b"/>
              <a:pathLst>
                <a:path w="487045" h="487045">
                  <a:moveTo>
                    <a:pt x="486779" y="243392"/>
                  </a:moveTo>
                  <a:lnTo>
                    <a:pt x="481834" y="292441"/>
                  </a:lnTo>
                  <a:lnTo>
                    <a:pt x="467652" y="338127"/>
                  </a:lnTo>
                  <a:lnTo>
                    <a:pt x="445212" y="379471"/>
                  </a:lnTo>
                  <a:lnTo>
                    <a:pt x="415491" y="415493"/>
                  </a:lnTo>
                  <a:lnTo>
                    <a:pt x="379470" y="445215"/>
                  </a:lnTo>
                  <a:lnTo>
                    <a:pt x="338126" y="467657"/>
                  </a:lnTo>
                  <a:lnTo>
                    <a:pt x="292439" y="481840"/>
                  </a:lnTo>
                  <a:lnTo>
                    <a:pt x="243386" y="486785"/>
                  </a:lnTo>
                  <a:lnTo>
                    <a:pt x="194337" y="481840"/>
                  </a:lnTo>
                  <a:lnTo>
                    <a:pt x="148652" y="467656"/>
                  </a:lnTo>
                  <a:lnTo>
                    <a:pt x="107310" y="445214"/>
                  </a:lnTo>
                  <a:lnTo>
                    <a:pt x="71289" y="415493"/>
                  </a:lnTo>
                  <a:lnTo>
                    <a:pt x="41568" y="379471"/>
                  </a:lnTo>
                  <a:lnTo>
                    <a:pt x="19127" y="338127"/>
                  </a:lnTo>
                  <a:lnTo>
                    <a:pt x="4945" y="292441"/>
                  </a:lnTo>
                  <a:lnTo>
                    <a:pt x="0" y="243392"/>
                  </a:lnTo>
                  <a:lnTo>
                    <a:pt x="4945" y="194340"/>
                  </a:lnTo>
                  <a:lnTo>
                    <a:pt x="19127" y="148652"/>
                  </a:lnTo>
                  <a:lnTo>
                    <a:pt x="41568" y="107308"/>
                  </a:lnTo>
                  <a:lnTo>
                    <a:pt x="71288" y="71287"/>
                  </a:lnTo>
                  <a:lnTo>
                    <a:pt x="107309" y="41567"/>
                  </a:lnTo>
                  <a:lnTo>
                    <a:pt x="148652" y="19126"/>
                  </a:lnTo>
                  <a:lnTo>
                    <a:pt x="194337" y="4944"/>
                  </a:lnTo>
                  <a:lnTo>
                    <a:pt x="243386" y="0"/>
                  </a:lnTo>
                  <a:lnTo>
                    <a:pt x="292438" y="4944"/>
                  </a:lnTo>
                  <a:lnTo>
                    <a:pt x="338126" y="19126"/>
                  </a:lnTo>
                  <a:lnTo>
                    <a:pt x="379470" y="41567"/>
                  </a:lnTo>
                  <a:lnTo>
                    <a:pt x="415491" y="71287"/>
                  </a:lnTo>
                  <a:lnTo>
                    <a:pt x="445211" y="107308"/>
                  </a:lnTo>
                  <a:lnTo>
                    <a:pt x="467652" y="148652"/>
                  </a:lnTo>
                  <a:lnTo>
                    <a:pt x="481834" y="194340"/>
                  </a:lnTo>
                  <a:lnTo>
                    <a:pt x="486779" y="243392"/>
                  </a:lnTo>
                  <a:close/>
                </a:path>
              </a:pathLst>
            </a:custGeom>
            <a:ln w="20282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5" name="object 55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0265214" y="2943286"/>
              <a:ext cx="263675" cy="294099"/>
            </a:xfrm>
            <a:prstGeom prst="rect">
              <a:avLst/>
            </a:prstGeom>
          </p:spPr>
        </p:pic>
        <p:sp>
          <p:nvSpPr>
            <p:cNvPr id="56" name="object 56"/>
            <p:cNvSpPr/>
            <p:nvPr/>
          </p:nvSpPr>
          <p:spPr>
            <a:xfrm>
              <a:off x="11028709" y="3000664"/>
              <a:ext cx="613410" cy="209550"/>
            </a:xfrm>
            <a:custGeom>
              <a:avLst/>
              <a:gdLst/>
              <a:ahLst/>
              <a:cxnLst/>
              <a:rect l="l" t="t" r="r" b="b"/>
              <a:pathLst>
                <a:path w="613409" h="209550">
                  <a:moveTo>
                    <a:pt x="473854" y="59668"/>
                  </a:moveTo>
                  <a:lnTo>
                    <a:pt x="543699" y="97588"/>
                  </a:lnTo>
                  <a:lnTo>
                    <a:pt x="613405" y="0"/>
                  </a:lnTo>
                </a:path>
                <a:path w="613409" h="209550">
                  <a:moveTo>
                    <a:pt x="0" y="111529"/>
                  </a:moveTo>
                  <a:lnTo>
                    <a:pt x="55764" y="153352"/>
                  </a:lnTo>
                  <a:lnTo>
                    <a:pt x="111523" y="55764"/>
                  </a:lnTo>
                  <a:lnTo>
                    <a:pt x="195170" y="209117"/>
                  </a:lnTo>
                  <a:lnTo>
                    <a:pt x="250935" y="97588"/>
                  </a:lnTo>
                  <a:lnTo>
                    <a:pt x="306699" y="139411"/>
                  </a:lnTo>
                  <a:lnTo>
                    <a:pt x="364950" y="72249"/>
                  </a:lnTo>
                </a:path>
              </a:pathLst>
            </a:custGeom>
            <a:ln w="18588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7" name="object 57"/>
            <p:cNvSpPr/>
            <p:nvPr/>
          </p:nvSpPr>
          <p:spPr>
            <a:xfrm>
              <a:off x="11028709" y="2847306"/>
              <a:ext cx="613410" cy="530225"/>
            </a:xfrm>
            <a:custGeom>
              <a:avLst/>
              <a:gdLst/>
              <a:ahLst/>
              <a:cxnLst/>
              <a:rect l="l" t="t" r="r" b="b"/>
              <a:pathLst>
                <a:path w="613409" h="530225">
                  <a:moveTo>
                    <a:pt x="613411" y="0"/>
                  </a:moveTo>
                  <a:lnTo>
                    <a:pt x="0" y="0"/>
                  </a:lnTo>
                  <a:lnTo>
                    <a:pt x="0" y="529764"/>
                  </a:lnTo>
                  <a:lnTo>
                    <a:pt x="613411" y="529764"/>
                  </a:lnTo>
                  <a:lnTo>
                    <a:pt x="61341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8" name="object 58"/>
            <p:cNvSpPr/>
            <p:nvPr/>
          </p:nvSpPr>
          <p:spPr>
            <a:xfrm>
              <a:off x="11028709" y="2847306"/>
              <a:ext cx="613410" cy="530225"/>
            </a:xfrm>
            <a:custGeom>
              <a:avLst/>
              <a:gdLst/>
              <a:ahLst/>
              <a:cxnLst/>
              <a:rect l="l" t="t" r="r" b="b"/>
              <a:pathLst>
                <a:path w="613409" h="530225">
                  <a:moveTo>
                    <a:pt x="0" y="529764"/>
                  </a:moveTo>
                  <a:lnTo>
                    <a:pt x="613411" y="529764"/>
                  </a:lnTo>
                  <a:lnTo>
                    <a:pt x="613411" y="0"/>
                  </a:lnTo>
                  <a:lnTo>
                    <a:pt x="0" y="0"/>
                  </a:lnTo>
                  <a:lnTo>
                    <a:pt x="0" y="529764"/>
                  </a:lnTo>
                  <a:close/>
                </a:path>
                <a:path w="613409" h="530225">
                  <a:moveTo>
                    <a:pt x="418229" y="334592"/>
                  </a:moveTo>
                  <a:lnTo>
                    <a:pt x="418229" y="529764"/>
                  </a:lnTo>
                </a:path>
              </a:pathLst>
            </a:custGeom>
            <a:ln w="18588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9" name="object 59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1381880" y="2847311"/>
              <a:ext cx="130117" cy="274176"/>
            </a:xfrm>
            <a:prstGeom prst="rect">
              <a:avLst/>
            </a:prstGeom>
          </p:spPr>
        </p:pic>
        <p:sp>
          <p:nvSpPr>
            <p:cNvPr id="60" name="object 60"/>
            <p:cNvSpPr/>
            <p:nvPr/>
          </p:nvSpPr>
          <p:spPr>
            <a:xfrm>
              <a:off x="9675861" y="1749556"/>
              <a:ext cx="557530" cy="613410"/>
            </a:xfrm>
            <a:custGeom>
              <a:avLst/>
              <a:gdLst/>
              <a:ahLst/>
              <a:cxnLst/>
              <a:rect l="l" t="t" r="r" b="b"/>
              <a:pathLst>
                <a:path w="557529" h="613410">
                  <a:moveTo>
                    <a:pt x="299233" y="0"/>
                  </a:moveTo>
                  <a:lnTo>
                    <a:pt x="256614" y="4930"/>
                  </a:lnTo>
                  <a:lnTo>
                    <a:pt x="215097" y="17157"/>
                  </a:lnTo>
                  <a:lnTo>
                    <a:pt x="175690" y="36728"/>
                  </a:lnTo>
                  <a:lnTo>
                    <a:pt x="139405" y="63689"/>
                  </a:lnTo>
                  <a:lnTo>
                    <a:pt x="103986" y="102877"/>
                  </a:lnTo>
                  <a:lnTo>
                    <a:pt x="77715" y="148207"/>
                  </a:lnTo>
                  <a:lnTo>
                    <a:pt x="61378" y="197982"/>
                  </a:lnTo>
                  <a:lnTo>
                    <a:pt x="55758" y="250501"/>
                  </a:lnTo>
                  <a:lnTo>
                    <a:pt x="55758" y="278383"/>
                  </a:lnTo>
                  <a:lnTo>
                    <a:pt x="0" y="389912"/>
                  </a:lnTo>
                  <a:lnTo>
                    <a:pt x="55758" y="417795"/>
                  </a:lnTo>
                  <a:lnTo>
                    <a:pt x="55758" y="501442"/>
                  </a:lnTo>
                  <a:lnTo>
                    <a:pt x="60159" y="523091"/>
                  </a:lnTo>
                  <a:lnTo>
                    <a:pt x="72139" y="540821"/>
                  </a:lnTo>
                  <a:lnTo>
                    <a:pt x="89871" y="552802"/>
                  </a:lnTo>
                  <a:lnTo>
                    <a:pt x="111523" y="557202"/>
                  </a:lnTo>
                  <a:lnTo>
                    <a:pt x="223053" y="557202"/>
                  </a:lnTo>
                  <a:lnTo>
                    <a:pt x="223053" y="612966"/>
                  </a:lnTo>
                  <a:lnTo>
                    <a:pt x="473994" y="612967"/>
                  </a:lnTo>
                  <a:lnTo>
                    <a:pt x="473994" y="437313"/>
                  </a:lnTo>
                  <a:lnTo>
                    <a:pt x="504863" y="404332"/>
                  </a:lnTo>
                  <a:lnTo>
                    <a:pt x="528664" y="367404"/>
                  </a:lnTo>
                  <a:lnTo>
                    <a:pt x="545352" y="327539"/>
                  </a:lnTo>
                  <a:lnTo>
                    <a:pt x="554879" y="285746"/>
                  </a:lnTo>
                  <a:lnTo>
                    <a:pt x="557201" y="243035"/>
                  </a:lnTo>
                  <a:lnTo>
                    <a:pt x="552270" y="200416"/>
                  </a:lnTo>
                  <a:lnTo>
                    <a:pt x="540043" y="158898"/>
                  </a:lnTo>
                  <a:lnTo>
                    <a:pt x="520471" y="119492"/>
                  </a:lnTo>
                  <a:lnTo>
                    <a:pt x="493511" y="83207"/>
                  </a:lnTo>
                  <a:lnTo>
                    <a:pt x="460530" y="52337"/>
                  </a:lnTo>
                  <a:lnTo>
                    <a:pt x="423602" y="28536"/>
                  </a:lnTo>
                  <a:lnTo>
                    <a:pt x="383737" y="11849"/>
                  </a:lnTo>
                  <a:lnTo>
                    <a:pt x="341944" y="2321"/>
                  </a:lnTo>
                  <a:lnTo>
                    <a:pt x="29923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1" name="object 61"/>
            <p:cNvSpPr/>
            <p:nvPr/>
          </p:nvSpPr>
          <p:spPr>
            <a:xfrm>
              <a:off x="9675861" y="1749556"/>
              <a:ext cx="557530" cy="613410"/>
            </a:xfrm>
            <a:custGeom>
              <a:avLst/>
              <a:gdLst/>
              <a:ahLst/>
              <a:cxnLst/>
              <a:rect l="l" t="t" r="r" b="b"/>
              <a:pathLst>
                <a:path w="557529" h="613410">
                  <a:moveTo>
                    <a:pt x="473994" y="612967"/>
                  </a:moveTo>
                  <a:lnTo>
                    <a:pt x="473994" y="437313"/>
                  </a:lnTo>
                  <a:lnTo>
                    <a:pt x="504863" y="404332"/>
                  </a:lnTo>
                  <a:lnTo>
                    <a:pt x="528664" y="367404"/>
                  </a:lnTo>
                  <a:lnTo>
                    <a:pt x="545352" y="327539"/>
                  </a:lnTo>
                  <a:lnTo>
                    <a:pt x="554879" y="285746"/>
                  </a:lnTo>
                  <a:lnTo>
                    <a:pt x="557201" y="243035"/>
                  </a:lnTo>
                  <a:lnTo>
                    <a:pt x="552270" y="200416"/>
                  </a:lnTo>
                  <a:lnTo>
                    <a:pt x="540043" y="158898"/>
                  </a:lnTo>
                  <a:lnTo>
                    <a:pt x="520471" y="119492"/>
                  </a:lnTo>
                  <a:lnTo>
                    <a:pt x="493511" y="83207"/>
                  </a:lnTo>
                  <a:lnTo>
                    <a:pt x="460530" y="52337"/>
                  </a:lnTo>
                  <a:lnTo>
                    <a:pt x="423602" y="28536"/>
                  </a:lnTo>
                  <a:lnTo>
                    <a:pt x="383737" y="11849"/>
                  </a:lnTo>
                  <a:lnTo>
                    <a:pt x="341944" y="2321"/>
                  </a:lnTo>
                  <a:lnTo>
                    <a:pt x="299233" y="0"/>
                  </a:lnTo>
                  <a:lnTo>
                    <a:pt x="256614" y="4930"/>
                  </a:lnTo>
                  <a:lnTo>
                    <a:pt x="215097" y="17157"/>
                  </a:lnTo>
                  <a:lnTo>
                    <a:pt x="175690" y="36728"/>
                  </a:lnTo>
                  <a:lnTo>
                    <a:pt x="139405" y="63689"/>
                  </a:lnTo>
                  <a:lnTo>
                    <a:pt x="103986" y="102877"/>
                  </a:lnTo>
                  <a:lnTo>
                    <a:pt x="77715" y="148207"/>
                  </a:lnTo>
                  <a:lnTo>
                    <a:pt x="61378" y="197982"/>
                  </a:lnTo>
                  <a:lnTo>
                    <a:pt x="55758" y="250501"/>
                  </a:lnTo>
                  <a:lnTo>
                    <a:pt x="55758" y="278383"/>
                  </a:lnTo>
                  <a:lnTo>
                    <a:pt x="0" y="389912"/>
                  </a:lnTo>
                  <a:lnTo>
                    <a:pt x="55758" y="417795"/>
                  </a:lnTo>
                  <a:lnTo>
                    <a:pt x="55758" y="501442"/>
                  </a:lnTo>
                  <a:lnTo>
                    <a:pt x="60159" y="523091"/>
                  </a:lnTo>
                  <a:lnTo>
                    <a:pt x="72139" y="540821"/>
                  </a:lnTo>
                  <a:lnTo>
                    <a:pt x="89871" y="552802"/>
                  </a:lnTo>
                  <a:lnTo>
                    <a:pt x="111523" y="557202"/>
                  </a:lnTo>
                  <a:lnTo>
                    <a:pt x="223053" y="557202"/>
                  </a:lnTo>
                  <a:lnTo>
                    <a:pt x="223053" y="612966"/>
                  </a:lnTo>
                </a:path>
              </a:pathLst>
            </a:custGeom>
            <a:ln w="18588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2" name="object 62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9872891" y="1876445"/>
              <a:ext cx="247223" cy="247223"/>
            </a:xfrm>
            <a:prstGeom prst="rect">
              <a:avLst/>
            </a:prstGeom>
          </p:spPr>
        </p:pic>
        <p:sp>
          <p:nvSpPr>
            <p:cNvPr id="63" name="object 63"/>
            <p:cNvSpPr/>
            <p:nvPr/>
          </p:nvSpPr>
          <p:spPr>
            <a:xfrm>
              <a:off x="10039231" y="5118558"/>
              <a:ext cx="861694" cy="924560"/>
            </a:xfrm>
            <a:custGeom>
              <a:avLst/>
              <a:gdLst/>
              <a:ahLst/>
              <a:cxnLst/>
              <a:rect l="l" t="t" r="r" b="b"/>
              <a:pathLst>
                <a:path w="861695" h="924560">
                  <a:moveTo>
                    <a:pt x="0" y="264116"/>
                  </a:moveTo>
                  <a:lnTo>
                    <a:pt x="430717" y="0"/>
                  </a:lnTo>
                </a:path>
                <a:path w="861695" h="924560">
                  <a:moveTo>
                    <a:pt x="0" y="264116"/>
                  </a:moveTo>
                  <a:lnTo>
                    <a:pt x="430718" y="132058"/>
                  </a:lnTo>
                </a:path>
                <a:path w="861695" h="924560">
                  <a:moveTo>
                    <a:pt x="0" y="264116"/>
                  </a:moveTo>
                  <a:lnTo>
                    <a:pt x="430718" y="264116"/>
                  </a:lnTo>
                </a:path>
                <a:path w="861695" h="924560">
                  <a:moveTo>
                    <a:pt x="0" y="264116"/>
                  </a:moveTo>
                  <a:lnTo>
                    <a:pt x="430718" y="396174"/>
                  </a:lnTo>
                </a:path>
                <a:path w="861695" h="924560">
                  <a:moveTo>
                    <a:pt x="0" y="264116"/>
                  </a:moveTo>
                  <a:lnTo>
                    <a:pt x="430718" y="528232"/>
                  </a:lnTo>
                </a:path>
                <a:path w="861695" h="924560">
                  <a:moveTo>
                    <a:pt x="0" y="264116"/>
                  </a:moveTo>
                  <a:lnTo>
                    <a:pt x="430718" y="660277"/>
                  </a:lnTo>
                </a:path>
                <a:path w="861695" h="924560">
                  <a:moveTo>
                    <a:pt x="0" y="264116"/>
                  </a:moveTo>
                  <a:lnTo>
                    <a:pt x="430718" y="792335"/>
                  </a:lnTo>
                </a:path>
                <a:path w="861695" h="924560">
                  <a:moveTo>
                    <a:pt x="0" y="264116"/>
                  </a:moveTo>
                  <a:lnTo>
                    <a:pt x="430718" y="924393"/>
                  </a:lnTo>
                </a:path>
                <a:path w="861695" h="924560">
                  <a:moveTo>
                    <a:pt x="0" y="396174"/>
                  </a:moveTo>
                  <a:lnTo>
                    <a:pt x="430717" y="0"/>
                  </a:lnTo>
                </a:path>
                <a:path w="861695" h="924560">
                  <a:moveTo>
                    <a:pt x="0" y="396174"/>
                  </a:moveTo>
                  <a:lnTo>
                    <a:pt x="430718" y="132058"/>
                  </a:lnTo>
                </a:path>
                <a:path w="861695" h="924560">
                  <a:moveTo>
                    <a:pt x="0" y="396174"/>
                  </a:moveTo>
                  <a:lnTo>
                    <a:pt x="430718" y="264116"/>
                  </a:lnTo>
                </a:path>
                <a:path w="861695" h="924560">
                  <a:moveTo>
                    <a:pt x="0" y="396174"/>
                  </a:moveTo>
                  <a:lnTo>
                    <a:pt x="430718" y="396174"/>
                  </a:lnTo>
                </a:path>
                <a:path w="861695" h="924560">
                  <a:moveTo>
                    <a:pt x="0" y="396174"/>
                  </a:moveTo>
                  <a:lnTo>
                    <a:pt x="430718" y="528232"/>
                  </a:lnTo>
                </a:path>
                <a:path w="861695" h="924560">
                  <a:moveTo>
                    <a:pt x="0" y="396174"/>
                  </a:moveTo>
                  <a:lnTo>
                    <a:pt x="430718" y="660277"/>
                  </a:lnTo>
                </a:path>
                <a:path w="861695" h="924560">
                  <a:moveTo>
                    <a:pt x="0" y="396174"/>
                  </a:moveTo>
                  <a:lnTo>
                    <a:pt x="430718" y="792335"/>
                  </a:lnTo>
                </a:path>
                <a:path w="861695" h="924560">
                  <a:moveTo>
                    <a:pt x="0" y="396174"/>
                  </a:moveTo>
                  <a:lnTo>
                    <a:pt x="430718" y="924393"/>
                  </a:lnTo>
                </a:path>
                <a:path w="861695" h="924560">
                  <a:moveTo>
                    <a:pt x="0" y="528232"/>
                  </a:moveTo>
                  <a:lnTo>
                    <a:pt x="430717" y="0"/>
                  </a:lnTo>
                </a:path>
                <a:path w="861695" h="924560">
                  <a:moveTo>
                    <a:pt x="0" y="528232"/>
                  </a:moveTo>
                  <a:lnTo>
                    <a:pt x="430718" y="132058"/>
                  </a:lnTo>
                </a:path>
                <a:path w="861695" h="924560">
                  <a:moveTo>
                    <a:pt x="0" y="528232"/>
                  </a:moveTo>
                  <a:lnTo>
                    <a:pt x="430718" y="264116"/>
                  </a:lnTo>
                </a:path>
                <a:path w="861695" h="924560">
                  <a:moveTo>
                    <a:pt x="0" y="528232"/>
                  </a:moveTo>
                  <a:lnTo>
                    <a:pt x="430718" y="396174"/>
                  </a:lnTo>
                </a:path>
                <a:path w="861695" h="924560">
                  <a:moveTo>
                    <a:pt x="0" y="528232"/>
                  </a:moveTo>
                  <a:lnTo>
                    <a:pt x="430718" y="528232"/>
                  </a:lnTo>
                </a:path>
                <a:path w="861695" h="924560">
                  <a:moveTo>
                    <a:pt x="0" y="528232"/>
                  </a:moveTo>
                  <a:lnTo>
                    <a:pt x="430718" y="660277"/>
                  </a:lnTo>
                </a:path>
                <a:path w="861695" h="924560">
                  <a:moveTo>
                    <a:pt x="0" y="528232"/>
                  </a:moveTo>
                  <a:lnTo>
                    <a:pt x="430718" y="792335"/>
                  </a:lnTo>
                </a:path>
                <a:path w="861695" h="924560">
                  <a:moveTo>
                    <a:pt x="0" y="528232"/>
                  </a:moveTo>
                  <a:lnTo>
                    <a:pt x="430718" y="924393"/>
                  </a:lnTo>
                </a:path>
                <a:path w="861695" h="924560">
                  <a:moveTo>
                    <a:pt x="0" y="660277"/>
                  </a:moveTo>
                  <a:lnTo>
                    <a:pt x="430717" y="0"/>
                  </a:lnTo>
                </a:path>
                <a:path w="861695" h="924560">
                  <a:moveTo>
                    <a:pt x="0" y="660277"/>
                  </a:moveTo>
                  <a:lnTo>
                    <a:pt x="430718" y="132058"/>
                  </a:lnTo>
                </a:path>
                <a:path w="861695" h="924560">
                  <a:moveTo>
                    <a:pt x="0" y="660277"/>
                  </a:moveTo>
                  <a:lnTo>
                    <a:pt x="430718" y="264116"/>
                  </a:lnTo>
                </a:path>
                <a:path w="861695" h="924560">
                  <a:moveTo>
                    <a:pt x="0" y="660277"/>
                  </a:moveTo>
                  <a:lnTo>
                    <a:pt x="430718" y="396174"/>
                  </a:lnTo>
                </a:path>
                <a:path w="861695" h="924560">
                  <a:moveTo>
                    <a:pt x="0" y="660277"/>
                  </a:moveTo>
                  <a:lnTo>
                    <a:pt x="430718" y="528232"/>
                  </a:lnTo>
                </a:path>
                <a:path w="861695" h="924560">
                  <a:moveTo>
                    <a:pt x="0" y="660277"/>
                  </a:moveTo>
                  <a:lnTo>
                    <a:pt x="430718" y="660277"/>
                  </a:lnTo>
                </a:path>
                <a:path w="861695" h="924560">
                  <a:moveTo>
                    <a:pt x="0" y="660277"/>
                  </a:moveTo>
                  <a:lnTo>
                    <a:pt x="430718" y="792335"/>
                  </a:lnTo>
                </a:path>
                <a:path w="861695" h="924560">
                  <a:moveTo>
                    <a:pt x="0" y="660277"/>
                  </a:moveTo>
                  <a:lnTo>
                    <a:pt x="430718" y="924393"/>
                  </a:lnTo>
                </a:path>
                <a:path w="861695" h="924560">
                  <a:moveTo>
                    <a:pt x="430717" y="0"/>
                  </a:moveTo>
                  <a:lnTo>
                    <a:pt x="861419" y="264116"/>
                  </a:lnTo>
                </a:path>
                <a:path w="861695" h="924560">
                  <a:moveTo>
                    <a:pt x="430717" y="0"/>
                  </a:moveTo>
                  <a:lnTo>
                    <a:pt x="861419" y="396174"/>
                  </a:lnTo>
                </a:path>
                <a:path w="861695" h="924560">
                  <a:moveTo>
                    <a:pt x="430717" y="0"/>
                  </a:moveTo>
                  <a:lnTo>
                    <a:pt x="861420" y="528232"/>
                  </a:lnTo>
                </a:path>
                <a:path w="861695" h="924560">
                  <a:moveTo>
                    <a:pt x="430717" y="0"/>
                  </a:moveTo>
                  <a:lnTo>
                    <a:pt x="861420" y="660277"/>
                  </a:lnTo>
                </a:path>
                <a:path w="861695" h="924560">
                  <a:moveTo>
                    <a:pt x="430718" y="132058"/>
                  </a:moveTo>
                  <a:lnTo>
                    <a:pt x="861419" y="264116"/>
                  </a:lnTo>
                </a:path>
                <a:path w="861695" h="924560">
                  <a:moveTo>
                    <a:pt x="430718" y="132058"/>
                  </a:moveTo>
                  <a:lnTo>
                    <a:pt x="861419" y="396174"/>
                  </a:lnTo>
                </a:path>
                <a:path w="861695" h="924560">
                  <a:moveTo>
                    <a:pt x="430718" y="132058"/>
                  </a:moveTo>
                  <a:lnTo>
                    <a:pt x="861420" y="528232"/>
                  </a:lnTo>
                </a:path>
                <a:path w="861695" h="924560">
                  <a:moveTo>
                    <a:pt x="430718" y="132058"/>
                  </a:moveTo>
                  <a:lnTo>
                    <a:pt x="861420" y="660277"/>
                  </a:lnTo>
                </a:path>
                <a:path w="861695" h="924560">
                  <a:moveTo>
                    <a:pt x="430718" y="264116"/>
                  </a:moveTo>
                  <a:lnTo>
                    <a:pt x="861419" y="264116"/>
                  </a:lnTo>
                </a:path>
                <a:path w="861695" h="924560">
                  <a:moveTo>
                    <a:pt x="430718" y="264116"/>
                  </a:moveTo>
                  <a:lnTo>
                    <a:pt x="861419" y="396174"/>
                  </a:lnTo>
                </a:path>
                <a:path w="861695" h="924560">
                  <a:moveTo>
                    <a:pt x="430718" y="264116"/>
                  </a:moveTo>
                  <a:lnTo>
                    <a:pt x="861420" y="528232"/>
                  </a:lnTo>
                </a:path>
                <a:path w="861695" h="924560">
                  <a:moveTo>
                    <a:pt x="430718" y="264116"/>
                  </a:moveTo>
                  <a:lnTo>
                    <a:pt x="861420" y="660277"/>
                  </a:lnTo>
                </a:path>
                <a:path w="861695" h="924560">
                  <a:moveTo>
                    <a:pt x="430718" y="396174"/>
                  </a:moveTo>
                  <a:lnTo>
                    <a:pt x="861419" y="264116"/>
                  </a:lnTo>
                </a:path>
                <a:path w="861695" h="924560">
                  <a:moveTo>
                    <a:pt x="430718" y="396174"/>
                  </a:moveTo>
                  <a:lnTo>
                    <a:pt x="861419" y="396174"/>
                  </a:lnTo>
                </a:path>
                <a:path w="861695" h="924560">
                  <a:moveTo>
                    <a:pt x="430718" y="396174"/>
                  </a:moveTo>
                  <a:lnTo>
                    <a:pt x="861420" y="528232"/>
                  </a:lnTo>
                </a:path>
                <a:path w="861695" h="924560">
                  <a:moveTo>
                    <a:pt x="430718" y="396174"/>
                  </a:moveTo>
                  <a:lnTo>
                    <a:pt x="861420" y="660277"/>
                  </a:lnTo>
                </a:path>
                <a:path w="861695" h="924560">
                  <a:moveTo>
                    <a:pt x="430718" y="528232"/>
                  </a:moveTo>
                  <a:lnTo>
                    <a:pt x="861419" y="264116"/>
                  </a:lnTo>
                </a:path>
                <a:path w="861695" h="924560">
                  <a:moveTo>
                    <a:pt x="430718" y="528232"/>
                  </a:moveTo>
                  <a:lnTo>
                    <a:pt x="861419" y="396174"/>
                  </a:lnTo>
                </a:path>
                <a:path w="861695" h="924560">
                  <a:moveTo>
                    <a:pt x="430718" y="528232"/>
                  </a:moveTo>
                  <a:lnTo>
                    <a:pt x="861420" y="528232"/>
                  </a:lnTo>
                </a:path>
                <a:path w="861695" h="924560">
                  <a:moveTo>
                    <a:pt x="430718" y="528232"/>
                  </a:moveTo>
                  <a:lnTo>
                    <a:pt x="861420" y="660277"/>
                  </a:lnTo>
                </a:path>
                <a:path w="861695" h="924560">
                  <a:moveTo>
                    <a:pt x="430718" y="660277"/>
                  </a:moveTo>
                  <a:lnTo>
                    <a:pt x="861419" y="264116"/>
                  </a:lnTo>
                </a:path>
                <a:path w="861695" h="924560">
                  <a:moveTo>
                    <a:pt x="430718" y="660277"/>
                  </a:moveTo>
                  <a:lnTo>
                    <a:pt x="861419" y="396174"/>
                  </a:lnTo>
                </a:path>
                <a:path w="861695" h="924560">
                  <a:moveTo>
                    <a:pt x="430718" y="660277"/>
                  </a:moveTo>
                  <a:lnTo>
                    <a:pt x="861420" y="528232"/>
                  </a:lnTo>
                </a:path>
                <a:path w="861695" h="924560">
                  <a:moveTo>
                    <a:pt x="430718" y="660277"/>
                  </a:moveTo>
                  <a:lnTo>
                    <a:pt x="861420" y="660277"/>
                  </a:lnTo>
                </a:path>
                <a:path w="861695" h="924560">
                  <a:moveTo>
                    <a:pt x="430718" y="792335"/>
                  </a:moveTo>
                  <a:lnTo>
                    <a:pt x="861419" y="264116"/>
                  </a:lnTo>
                </a:path>
                <a:path w="861695" h="924560">
                  <a:moveTo>
                    <a:pt x="430718" y="792335"/>
                  </a:moveTo>
                  <a:lnTo>
                    <a:pt x="861419" y="396174"/>
                  </a:lnTo>
                </a:path>
                <a:path w="861695" h="924560">
                  <a:moveTo>
                    <a:pt x="430718" y="792335"/>
                  </a:moveTo>
                  <a:lnTo>
                    <a:pt x="861420" y="528232"/>
                  </a:lnTo>
                </a:path>
                <a:path w="861695" h="924560">
                  <a:moveTo>
                    <a:pt x="430718" y="792335"/>
                  </a:moveTo>
                  <a:lnTo>
                    <a:pt x="861420" y="660277"/>
                  </a:lnTo>
                </a:path>
                <a:path w="861695" h="924560">
                  <a:moveTo>
                    <a:pt x="430718" y="924393"/>
                  </a:moveTo>
                  <a:lnTo>
                    <a:pt x="861419" y="264116"/>
                  </a:lnTo>
                </a:path>
                <a:path w="861695" h="924560">
                  <a:moveTo>
                    <a:pt x="430718" y="924393"/>
                  </a:moveTo>
                  <a:lnTo>
                    <a:pt x="861419" y="396174"/>
                  </a:lnTo>
                </a:path>
                <a:path w="861695" h="924560">
                  <a:moveTo>
                    <a:pt x="430718" y="924393"/>
                  </a:moveTo>
                  <a:lnTo>
                    <a:pt x="861420" y="528232"/>
                  </a:lnTo>
                </a:path>
                <a:path w="861695" h="924560">
                  <a:moveTo>
                    <a:pt x="430718" y="924393"/>
                  </a:moveTo>
                  <a:lnTo>
                    <a:pt x="861420" y="660277"/>
                  </a:lnTo>
                </a:path>
              </a:pathLst>
            </a:custGeom>
            <a:ln w="57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4" name="object 64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9994775" y="5338246"/>
              <a:ext cx="88911" cy="88855"/>
            </a:xfrm>
            <a:prstGeom prst="rect">
              <a:avLst/>
            </a:prstGeom>
          </p:spPr>
        </p:pic>
        <p:pic>
          <p:nvPicPr>
            <p:cNvPr id="65" name="object 65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9994775" y="5470304"/>
              <a:ext cx="88911" cy="88855"/>
            </a:xfrm>
            <a:prstGeom prst="rect">
              <a:avLst/>
            </a:prstGeom>
          </p:spPr>
        </p:pic>
        <p:pic>
          <p:nvPicPr>
            <p:cNvPr id="66" name="object 66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9994775" y="5602362"/>
              <a:ext cx="88911" cy="88855"/>
            </a:xfrm>
            <a:prstGeom prst="rect">
              <a:avLst/>
            </a:prstGeom>
          </p:spPr>
        </p:pic>
        <p:pic>
          <p:nvPicPr>
            <p:cNvPr id="67" name="object 67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9994775" y="5734420"/>
              <a:ext cx="88911" cy="88843"/>
            </a:xfrm>
            <a:prstGeom prst="rect">
              <a:avLst/>
            </a:prstGeom>
          </p:spPr>
        </p:pic>
        <p:pic>
          <p:nvPicPr>
            <p:cNvPr id="68" name="object 68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0425492" y="5074130"/>
              <a:ext cx="88911" cy="88855"/>
            </a:xfrm>
            <a:prstGeom prst="rect">
              <a:avLst/>
            </a:prstGeom>
          </p:spPr>
        </p:pic>
        <p:pic>
          <p:nvPicPr>
            <p:cNvPr id="69" name="object 69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0425492" y="5206188"/>
              <a:ext cx="88911" cy="88855"/>
            </a:xfrm>
            <a:prstGeom prst="rect">
              <a:avLst/>
            </a:prstGeom>
          </p:spPr>
        </p:pic>
        <p:pic>
          <p:nvPicPr>
            <p:cNvPr id="70" name="object 70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0425492" y="5338246"/>
              <a:ext cx="88911" cy="88855"/>
            </a:xfrm>
            <a:prstGeom prst="rect">
              <a:avLst/>
            </a:prstGeom>
          </p:spPr>
        </p:pic>
        <p:pic>
          <p:nvPicPr>
            <p:cNvPr id="71" name="object 71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10425493" y="5470304"/>
              <a:ext cx="88911" cy="88855"/>
            </a:xfrm>
            <a:prstGeom prst="rect">
              <a:avLst/>
            </a:prstGeom>
          </p:spPr>
        </p:pic>
        <p:pic>
          <p:nvPicPr>
            <p:cNvPr id="72" name="object 72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0425493" y="5602362"/>
              <a:ext cx="88911" cy="88855"/>
            </a:xfrm>
            <a:prstGeom prst="rect">
              <a:avLst/>
            </a:prstGeom>
          </p:spPr>
        </p:pic>
        <p:pic>
          <p:nvPicPr>
            <p:cNvPr id="73" name="object 73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0425493" y="5734420"/>
              <a:ext cx="88911" cy="88843"/>
            </a:xfrm>
            <a:prstGeom prst="rect">
              <a:avLst/>
            </a:prstGeom>
          </p:spPr>
        </p:pic>
        <p:pic>
          <p:nvPicPr>
            <p:cNvPr id="74" name="object 74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10425493" y="5866466"/>
              <a:ext cx="88911" cy="88855"/>
            </a:xfrm>
            <a:prstGeom prst="rect">
              <a:avLst/>
            </a:prstGeom>
          </p:spPr>
        </p:pic>
        <p:pic>
          <p:nvPicPr>
            <p:cNvPr id="75" name="object 75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10425493" y="5998524"/>
              <a:ext cx="88911" cy="88855"/>
            </a:xfrm>
            <a:prstGeom prst="rect">
              <a:avLst/>
            </a:prstGeom>
          </p:spPr>
        </p:pic>
        <p:pic>
          <p:nvPicPr>
            <p:cNvPr id="76" name="object 76"/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10856195" y="5338246"/>
              <a:ext cx="88911" cy="88855"/>
            </a:xfrm>
            <a:prstGeom prst="rect">
              <a:avLst/>
            </a:prstGeom>
          </p:spPr>
        </p:pic>
        <p:pic>
          <p:nvPicPr>
            <p:cNvPr id="77" name="object 77"/>
            <p:cNvPicPr/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10856195" y="5470304"/>
              <a:ext cx="88911" cy="88855"/>
            </a:xfrm>
            <a:prstGeom prst="rect">
              <a:avLst/>
            </a:prstGeom>
          </p:spPr>
        </p:pic>
        <p:pic>
          <p:nvPicPr>
            <p:cNvPr id="78" name="object 78"/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10856195" y="5602362"/>
              <a:ext cx="88911" cy="88855"/>
            </a:xfrm>
            <a:prstGeom prst="rect">
              <a:avLst/>
            </a:prstGeom>
          </p:spPr>
        </p:pic>
        <p:pic>
          <p:nvPicPr>
            <p:cNvPr id="79" name="object 79"/>
            <p:cNvPicPr/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10856195" y="5734420"/>
              <a:ext cx="88911" cy="88843"/>
            </a:xfrm>
            <a:prstGeom prst="rect">
              <a:avLst/>
            </a:prstGeom>
          </p:spPr>
        </p:pic>
        <p:sp>
          <p:nvSpPr>
            <p:cNvPr id="80" name="object 80"/>
            <p:cNvSpPr/>
            <p:nvPr/>
          </p:nvSpPr>
          <p:spPr>
            <a:xfrm>
              <a:off x="10000242" y="3894646"/>
              <a:ext cx="861694" cy="924560"/>
            </a:xfrm>
            <a:custGeom>
              <a:avLst/>
              <a:gdLst/>
              <a:ahLst/>
              <a:cxnLst/>
              <a:rect l="l" t="t" r="r" b="b"/>
              <a:pathLst>
                <a:path w="861695" h="924560">
                  <a:moveTo>
                    <a:pt x="0" y="264115"/>
                  </a:moveTo>
                  <a:lnTo>
                    <a:pt x="430717" y="0"/>
                  </a:lnTo>
                </a:path>
                <a:path w="861695" h="924560">
                  <a:moveTo>
                    <a:pt x="0" y="264115"/>
                  </a:moveTo>
                  <a:lnTo>
                    <a:pt x="430718" y="132058"/>
                  </a:lnTo>
                </a:path>
                <a:path w="861695" h="924560">
                  <a:moveTo>
                    <a:pt x="0" y="264115"/>
                  </a:moveTo>
                  <a:lnTo>
                    <a:pt x="430718" y="264116"/>
                  </a:lnTo>
                </a:path>
                <a:path w="861695" h="924560">
                  <a:moveTo>
                    <a:pt x="0" y="264115"/>
                  </a:moveTo>
                  <a:lnTo>
                    <a:pt x="430718" y="396174"/>
                  </a:lnTo>
                </a:path>
                <a:path w="861695" h="924560">
                  <a:moveTo>
                    <a:pt x="0" y="264115"/>
                  </a:moveTo>
                  <a:lnTo>
                    <a:pt x="430718" y="528232"/>
                  </a:lnTo>
                </a:path>
                <a:path w="861695" h="924560">
                  <a:moveTo>
                    <a:pt x="0" y="264115"/>
                  </a:moveTo>
                  <a:lnTo>
                    <a:pt x="430718" y="660277"/>
                  </a:lnTo>
                </a:path>
                <a:path w="861695" h="924560">
                  <a:moveTo>
                    <a:pt x="0" y="264115"/>
                  </a:moveTo>
                  <a:lnTo>
                    <a:pt x="430718" y="792335"/>
                  </a:lnTo>
                </a:path>
                <a:path w="861695" h="924560">
                  <a:moveTo>
                    <a:pt x="0" y="264115"/>
                  </a:moveTo>
                  <a:lnTo>
                    <a:pt x="430718" y="924393"/>
                  </a:lnTo>
                </a:path>
                <a:path w="861695" h="924560">
                  <a:moveTo>
                    <a:pt x="0" y="396173"/>
                  </a:moveTo>
                  <a:lnTo>
                    <a:pt x="430717" y="0"/>
                  </a:lnTo>
                </a:path>
                <a:path w="861695" h="924560">
                  <a:moveTo>
                    <a:pt x="0" y="396173"/>
                  </a:moveTo>
                  <a:lnTo>
                    <a:pt x="430718" y="132058"/>
                  </a:lnTo>
                </a:path>
                <a:path w="861695" h="924560">
                  <a:moveTo>
                    <a:pt x="0" y="396173"/>
                  </a:moveTo>
                  <a:lnTo>
                    <a:pt x="430718" y="264116"/>
                  </a:lnTo>
                </a:path>
                <a:path w="861695" h="924560">
                  <a:moveTo>
                    <a:pt x="0" y="396173"/>
                  </a:moveTo>
                  <a:lnTo>
                    <a:pt x="430718" y="396174"/>
                  </a:lnTo>
                </a:path>
                <a:path w="861695" h="924560">
                  <a:moveTo>
                    <a:pt x="0" y="396173"/>
                  </a:moveTo>
                  <a:lnTo>
                    <a:pt x="430718" y="528232"/>
                  </a:lnTo>
                </a:path>
                <a:path w="861695" h="924560">
                  <a:moveTo>
                    <a:pt x="0" y="396173"/>
                  </a:moveTo>
                  <a:lnTo>
                    <a:pt x="430718" y="660277"/>
                  </a:lnTo>
                </a:path>
                <a:path w="861695" h="924560">
                  <a:moveTo>
                    <a:pt x="0" y="396173"/>
                  </a:moveTo>
                  <a:lnTo>
                    <a:pt x="430718" y="792335"/>
                  </a:lnTo>
                </a:path>
                <a:path w="861695" h="924560">
                  <a:moveTo>
                    <a:pt x="0" y="396173"/>
                  </a:moveTo>
                  <a:lnTo>
                    <a:pt x="430718" y="924393"/>
                  </a:lnTo>
                </a:path>
                <a:path w="861695" h="924560">
                  <a:moveTo>
                    <a:pt x="0" y="528231"/>
                  </a:moveTo>
                  <a:lnTo>
                    <a:pt x="430717" y="0"/>
                  </a:lnTo>
                </a:path>
                <a:path w="861695" h="924560">
                  <a:moveTo>
                    <a:pt x="0" y="528231"/>
                  </a:moveTo>
                  <a:lnTo>
                    <a:pt x="430718" y="132058"/>
                  </a:lnTo>
                </a:path>
                <a:path w="861695" h="924560">
                  <a:moveTo>
                    <a:pt x="0" y="528231"/>
                  </a:moveTo>
                  <a:lnTo>
                    <a:pt x="430718" y="264116"/>
                  </a:lnTo>
                </a:path>
                <a:path w="861695" h="924560">
                  <a:moveTo>
                    <a:pt x="0" y="528231"/>
                  </a:moveTo>
                  <a:lnTo>
                    <a:pt x="430718" y="396174"/>
                  </a:lnTo>
                </a:path>
                <a:path w="861695" h="924560">
                  <a:moveTo>
                    <a:pt x="0" y="528231"/>
                  </a:moveTo>
                  <a:lnTo>
                    <a:pt x="430718" y="528232"/>
                  </a:lnTo>
                </a:path>
                <a:path w="861695" h="924560">
                  <a:moveTo>
                    <a:pt x="0" y="528231"/>
                  </a:moveTo>
                  <a:lnTo>
                    <a:pt x="430718" y="660277"/>
                  </a:lnTo>
                </a:path>
                <a:path w="861695" h="924560">
                  <a:moveTo>
                    <a:pt x="0" y="528231"/>
                  </a:moveTo>
                  <a:lnTo>
                    <a:pt x="430718" y="792335"/>
                  </a:lnTo>
                </a:path>
                <a:path w="861695" h="924560">
                  <a:moveTo>
                    <a:pt x="0" y="528231"/>
                  </a:moveTo>
                  <a:lnTo>
                    <a:pt x="430718" y="924393"/>
                  </a:lnTo>
                </a:path>
                <a:path w="861695" h="924560">
                  <a:moveTo>
                    <a:pt x="0" y="660277"/>
                  </a:moveTo>
                  <a:lnTo>
                    <a:pt x="430717" y="0"/>
                  </a:lnTo>
                </a:path>
                <a:path w="861695" h="924560">
                  <a:moveTo>
                    <a:pt x="0" y="660277"/>
                  </a:moveTo>
                  <a:lnTo>
                    <a:pt x="430718" y="132058"/>
                  </a:lnTo>
                </a:path>
                <a:path w="861695" h="924560">
                  <a:moveTo>
                    <a:pt x="0" y="660277"/>
                  </a:moveTo>
                  <a:lnTo>
                    <a:pt x="430718" y="264116"/>
                  </a:lnTo>
                </a:path>
                <a:path w="861695" h="924560">
                  <a:moveTo>
                    <a:pt x="0" y="660277"/>
                  </a:moveTo>
                  <a:lnTo>
                    <a:pt x="430718" y="396174"/>
                  </a:lnTo>
                </a:path>
                <a:path w="861695" h="924560">
                  <a:moveTo>
                    <a:pt x="0" y="660277"/>
                  </a:moveTo>
                  <a:lnTo>
                    <a:pt x="430718" y="528232"/>
                  </a:lnTo>
                </a:path>
                <a:path w="861695" h="924560">
                  <a:moveTo>
                    <a:pt x="0" y="660277"/>
                  </a:moveTo>
                  <a:lnTo>
                    <a:pt x="430718" y="660277"/>
                  </a:lnTo>
                </a:path>
                <a:path w="861695" h="924560">
                  <a:moveTo>
                    <a:pt x="0" y="660277"/>
                  </a:moveTo>
                  <a:lnTo>
                    <a:pt x="430718" y="792335"/>
                  </a:lnTo>
                </a:path>
                <a:path w="861695" h="924560">
                  <a:moveTo>
                    <a:pt x="0" y="660277"/>
                  </a:moveTo>
                  <a:lnTo>
                    <a:pt x="430718" y="924393"/>
                  </a:lnTo>
                </a:path>
                <a:path w="861695" h="924560">
                  <a:moveTo>
                    <a:pt x="430717" y="0"/>
                  </a:moveTo>
                  <a:lnTo>
                    <a:pt x="861419" y="264116"/>
                  </a:lnTo>
                </a:path>
                <a:path w="861695" h="924560">
                  <a:moveTo>
                    <a:pt x="430717" y="0"/>
                  </a:moveTo>
                  <a:lnTo>
                    <a:pt x="861419" y="396174"/>
                  </a:lnTo>
                </a:path>
                <a:path w="861695" h="924560">
                  <a:moveTo>
                    <a:pt x="430717" y="0"/>
                  </a:moveTo>
                  <a:lnTo>
                    <a:pt x="861420" y="528232"/>
                  </a:lnTo>
                </a:path>
                <a:path w="861695" h="924560">
                  <a:moveTo>
                    <a:pt x="430717" y="0"/>
                  </a:moveTo>
                  <a:lnTo>
                    <a:pt x="861420" y="660277"/>
                  </a:lnTo>
                </a:path>
                <a:path w="861695" h="924560">
                  <a:moveTo>
                    <a:pt x="430718" y="132058"/>
                  </a:moveTo>
                  <a:lnTo>
                    <a:pt x="861419" y="264116"/>
                  </a:lnTo>
                </a:path>
                <a:path w="861695" h="924560">
                  <a:moveTo>
                    <a:pt x="430718" y="132058"/>
                  </a:moveTo>
                  <a:lnTo>
                    <a:pt x="861419" y="396174"/>
                  </a:lnTo>
                </a:path>
                <a:path w="861695" h="924560">
                  <a:moveTo>
                    <a:pt x="430718" y="132058"/>
                  </a:moveTo>
                  <a:lnTo>
                    <a:pt x="861420" y="528232"/>
                  </a:lnTo>
                </a:path>
                <a:path w="861695" h="924560">
                  <a:moveTo>
                    <a:pt x="430718" y="132058"/>
                  </a:moveTo>
                  <a:lnTo>
                    <a:pt x="861420" y="660277"/>
                  </a:lnTo>
                </a:path>
                <a:path w="861695" h="924560">
                  <a:moveTo>
                    <a:pt x="430718" y="264116"/>
                  </a:moveTo>
                  <a:lnTo>
                    <a:pt x="861419" y="264116"/>
                  </a:lnTo>
                </a:path>
                <a:path w="861695" h="924560">
                  <a:moveTo>
                    <a:pt x="430718" y="264116"/>
                  </a:moveTo>
                  <a:lnTo>
                    <a:pt x="861419" y="396174"/>
                  </a:lnTo>
                </a:path>
                <a:path w="861695" h="924560">
                  <a:moveTo>
                    <a:pt x="430718" y="264116"/>
                  </a:moveTo>
                  <a:lnTo>
                    <a:pt x="861420" y="528232"/>
                  </a:lnTo>
                </a:path>
                <a:path w="861695" h="924560">
                  <a:moveTo>
                    <a:pt x="430718" y="264116"/>
                  </a:moveTo>
                  <a:lnTo>
                    <a:pt x="861420" y="660277"/>
                  </a:lnTo>
                </a:path>
                <a:path w="861695" h="924560">
                  <a:moveTo>
                    <a:pt x="430718" y="396174"/>
                  </a:moveTo>
                  <a:lnTo>
                    <a:pt x="861419" y="264116"/>
                  </a:lnTo>
                </a:path>
                <a:path w="861695" h="924560">
                  <a:moveTo>
                    <a:pt x="430718" y="396174"/>
                  </a:moveTo>
                  <a:lnTo>
                    <a:pt x="861419" y="396174"/>
                  </a:lnTo>
                </a:path>
                <a:path w="861695" h="924560">
                  <a:moveTo>
                    <a:pt x="430718" y="396174"/>
                  </a:moveTo>
                  <a:lnTo>
                    <a:pt x="861420" y="528232"/>
                  </a:lnTo>
                </a:path>
                <a:path w="861695" h="924560">
                  <a:moveTo>
                    <a:pt x="430718" y="396174"/>
                  </a:moveTo>
                  <a:lnTo>
                    <a:pt x="861420" y="660277"/>
                  </a:lnTo>
                </a:path>
                <a:path w="861695" h="924560">
                  <a:moveTo>
                    <a:pt x="430718" y="528232"/>
                  </a:moveTo>
                  <a:lnTo>
                    <a:pt x="861419" y="264116"/>
                  </a:lnTo>
                </a:path>
                <a:path w="861695" h="924560">
                  <a:moveTo>
                    <a:pt x="430718" y="528232"/>
                  </a:moveTo>
                  <a:lnTo>
                    <a:pt x="861419" y="396174"/>
                  </a:lnTo>
                </a:path>
                <a:path w="861695" h="924560">
                  <a:moveTo>
                    <a:pt x="430718" y="528232"/>
                  </a:moveTo>
                  <a:lnTo>
                    <a:pt x="861420" y="528232"/>
                  </a:lnTo>
                </a:path>
                <a:path w="861695" h="924560">
                  <a:moveTo>
                    <a:pt x="430718" y="528232"/>
                  </a:moveTo>
                  <a:lnTo>
                    <a:pt x="861420" y="660277"/>
                  </a:lnTo>
                </a:path>
                <a:path w="861695" h="924560">
                  <a:moveTo>
                    <a:pt x="430718" y="660277"/>
                  </a:moveTo>
                  <a:lnTo>
                    <a:pt x="861419" y="264116"/>
                  </a:lnTo>
                </a:path>
                <a:path w="861695" h="924560">
                  <a:moveTo>
                    <a:pt x="430718" y="660277"/>
                  </a:moveTo>
                  <a:lnTo>
                    <a:pt x="861419" y="396174"/>
                  </a:lnTo>
                </a:path>
                <a:path w="861695" h="924560">
                  <a:moveTo>
                    <a:pt x="430718" y="660277"/>
                  </a:moveTo>
                  <a:lnTo>
                    <a:pt x="861420" y="528232"/>
                  </a:lnTo>
                </a:path>
                <a:path w="861695" h="924560">
                  <a:moveTo>
                    <a:pt x="430718" y="660277"/>
                  </a:moveTo>
                  <a:lnTo>
                    <a:pt x="861420" y="660277"/>
                  </a:lnTo>
                </a:path>
                <a:path w="861695" h="924560">
                  <a:moveTo>
                    <a:pt x="430718" y="792335"/>
                  </a:moveTo>
                  <a:lnTo>
                    <a:pt x="861419" y="264116"/>
                  </a:lnTo>
                </a:path>
                <a:path w="861695" h="924560">
                  <a:moveTo>
                    <a:pt x="430718" y="792335"/>
                  </a:moveTo>
                  <a:lnTo>
                    <a:pt x="861419" y="396174"/>
                  </a:lnTo>
                </a:path>
                <a:path w="861695" h="924560">
                  <a:moveTo>
                    <a:pt x="430718" y="792335"/>
                  </a:moveTo>
                  <a:lnTo>
                    <a:pt x="861420" y="528232"/>
                  </a:lnTo>
                </a:path>
                <a:path w="861695" h="924560">
                  <a:moveTo>
                    <a:pt x="430718" y="792335"/>
                  </a:moveTo>
                  <a:lnTo>
                    <a:pt x="861420" y="660277"/>
                  </a:lnTo>
                </a:path>
                <a:path w="861695" h="924560">
                  <a:moveTo>
                    <a:pt x="430718" y="924393"/>
                  </a:moveTo>
                  <a:lnTo>
                    <a:pt x="861419" y="264116"/>
                  </a:lnTo>
                </a:path>
                <a:path w="861695" h="924560">
                  <a:moveTo>
                    <a:pt x="430718" y="924393"/>
                  </a:moveTo>
                  <a:lnTo>
                    <a:pt x="861419" y="396174"/>
                  </a:lnTo>
                </a:path>
                <a:path w="861695" h="924560">
                  <a:moveTo>
                    <a:pt x="430718" y="924393"/>
                  </a:moveTo>
                  <a:lnTo>
                    <a:pt x="861420" y="528232"/>
                  </a:lnTo>
                </a:path>
                <a:path w="861695" h="924560">
                  <a:moveTo>
                    <a:pt x="430718" y="924393"/>
                  </a:moveTo>
                  <a:lnTo>
                    <a:pt x="861420" y="660277"/>
                  </a:lnTo>
                </a:path>
              </a:pathLst>
            </a:custGeom>
            <a:ln w="57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81" name="object 81"/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9955785" y="4114335"/>
              <a:ext cx="88911" cy="88855"/>
            </a:xfrm>
            <a:prstGeom prst="rect">
              <a:avLst/>
            </a:prstGeom>
          </p:spPr>
        </p:pic>
        <p:pic>
          <p:nvPicPr>
            <p:cNvPr id="82" name="object 82"/>
            <p:cNvPicPr/>
            <p:nvPr/>
          </p:nvPicPr>
          <p:blipFill>
            <a:blip r:embed="rId17" cstate="print"/>
            <a:stretch>
              <a:fillRect/>
            </a:stretch>
          </p:blipFill>
          <p:spPr>
            <a:xfrm>
              <a:off x="9955785" y="4246393"/>
              <a:ext cx="88911" cy="88855"/>
            </a:xfrm>
            <a:prstGeom prst="rect">
              <a:avLst/>
            </a:prstGeom>
          </p:spPr>
        </p:pic>
        <p:pic>
          <p:nvPicPr>
            <p:cNvPr id="83" name="object 83"/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9955786" y="4378451"/>
              <a:ext cx="88911" cy="88855"/>
            </a:xfrm>
            <a:prstGeom prst="rect">
              <a:avLst/>
            </a:prstGeom>
          </p:spPr>
        </p:pic>
        <p:pic>
          <p:nvPicPr>
            <p:cNvPr id="84" name="object 84"/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9955786" y="4510509"/>
              <a:ext cx="88911" cy="88843"/>
            </a:xfrm>
            <a:prstGeom prst="rect">
              <a:avLst/>
            </a:prstGeom>
          </p:spPr>
        </p:pic>
        <p:pic>
          <p:nvPicPr>
            <p:cNvPr id="85" name="object 85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0386503" y="3850219"/>
              <a:ext cx="88911" cy="88855"/>
            </a:xfrm>
            <a:prstGeom prst="rect">
              <a:avLst/>
            </a:prstGeom>
          </p:spPr>
        </p:pic>
        <p:pic>
          <p:nvPicPr>
            <p:cNvPr id="86" name="object 86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0386504" y="3982277"/>
              <a:ext cx="88911" cy="88855"/>
            </a:xfrm>
            <a:prstGeom prst="rect">
              <a:avLst/>
            </a:prstGeom>
          </p:spPr>
        </p:pic>
        <p:pic>
          <p:nvPicPr>
            <p:cNvPr id="87" name="object 87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0386504" y="4114335"/>
              <a:ext cx="88911" cy="88855"/>
            </a:xfrm>
            <a:prstGeom prst="rect">
              <a:avLst/>
            </a:prstGeom>
          </p:spPr>
        </p:pic>
        <p:pic>
          <p:nvPicPr>
            <p:cNvPr id="88" name="object 88"/>
            <p:cNvPicPr/>
            <p:nvPr/>
          </p:nvPicPr>
          <p:blipFill>
            <a:blip r:embed="rId18" cstate="print"/>
            <a:stretch>
              <a:fillRect/>
            </a:stretch>
          </p:blipFill>
          <p:spPr>
            <a:xfrm>
              <a:off x="10386504" y="4246393"/>
              <a:ext cx="88911" cy="88855"/>
            </a:xfrm>
            <a:prstGeom prst="rect">
              <a:avLst/>
            </a:prstGeom>
          </p:spPr>
        </p:pic>
        <p:pic>
          <p:nvPicPr>
            <p:cNvPr id="89" name="object 89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0386504" y="4378451"/>
              <a:ext cx="88911" cy="88855"/>
            </a:xfrm>
            <a:prstGeom prst="rect">
              <a:avLst/>
            </a:prstGeom>
          </p:spPr>
        </p:pic>
        <p:pic>
          <p:nvPicPr>
            <p:cNvPr id="90" name="object 90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0386504" y="4510509"/>
              <a:ext cx="88911" cy="88843"/>
            </a:xfrm>
            <a:prstGeom prst="rect">
              <a:avLst/>
            </a:prstGeom>
          </p:spPr>
        </p:pic>
        <p:pic>
          <p:nvPicPr>
            <p:cNvPr id="91" name="object 91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10386504" y="4642554"/>
              <a:ext cx="88911" cy="88855"/>
            </a:xfrm>
            <a:prstGeom prst="rect">
              <a:avLst/>
            </a:prstGeom>
          </p:spPr>
        </p:pic>
        <p:pic>
          <p:nvPicPr>
            <p:cNvPr id="92" name="object 92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10386504" y="4774613"/>
              <a:ext cx="88911" cy="88855"/>
            </a:xfrm>
            <a:prstGeom prst="rect">
              <a:avLst/>
            </a:prstGeom>
          </p:spPr>
        </p:pic>
        <p:pic>
          <p:nvPicPr>
            <p:cNvPr id="93" name="object 93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0817206" y="4114335"/>
              <a:ext cx="88911" cy="88855"/>
            </a:xfrm>
            <a:prstGeom prst="rect">
              <a:avLst/>
            </a:prstGeom>
          </p:spPr>
        </p:pic>
        <p:pic>
          <p:nvPicPr>
            <p:cNvPr id="94" name="object 94"/>
            <p:cNvPicPr/>
            <p:nvPr/>
          </p:nvPicPr>
          <p:blipFill>
            <a:blip r:embed="rId18" cstate="print"/>
            <a:stretch>
              <a:fillRect/>
            </a:stretch>
          </p:blipFill>
          <p:spPr>
            <a:xfrm>
              <a:off x="10817206" y="4246393"/>
              <a:ext cx="88911" cy="88855"/>
            </a:xfrm>
            <a:prstGeom prst="rect">
              <a:avLst/>
            </a:prstGeom>
          </p:spPr>
        </p:pic>
        <p:pic>
          <p:nvPicPr>
            <p:cNvPr id="95" name="object 95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0817206" y="4378451"/>
              <a:ext cx="88911" cy="88855"/>
            </a:xfrm>
            <a:prstGeom prst="rect">
              <a:avLst/>
            </a:prstGeom>
          </p:spPr>
        </p:pic>
        <p:pic>
          <p:nvPicPr>
            <p:cNvPr id="96" name="object 96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0817206" y="4510509"/>
              <a:ext cx="88911" cy="88843"/>
            </a:xfrm>
            <a:prstGeom prst="rect">
              <a:avLst/>
            </a:prstGeom>
          </p:spPr>
        </p:pic>
        <p:sp>
          <p:nvSpPr>
            <p:cNvPr id="97" name="object 97"/>
            <p:cNvSpPr/>
            <p:nvPr/>
          </p:nvSpPr>
          <p:spPr>
            <a:xfrm>
              <a:off x="10606942" y="1752784"/>
              <a:ext cx="613410" cy="613410"/>
            </a:xfrm>
            <a:custGeom>
              <a:avLst/>
              <a:gdLst/>
              <a:ahLst/>
              <a:cxnLst/>
              <a:rect l="l" t="t" r="r" b="b"/>
              <a:pathLst>
                <a:path w="613409" h="613410">
                  <a:moveTo>
                    <a:pt x="195170" y="55764"/>
                  </a:moveTo>
                  <a:lnTo>
                    <a:pt x="195170" y="0"/>
                  </a:lnTo>
                </a:path>
                <a:path w="613409" h="613410">
                  <a:moveTo>
                    <a:pt x="418229" y="55764"/>
                  </a:moveTo>
                  <a:lnTo>
                    <a:pt x="418229" y="0"/>
                  </a:lnTo>
                </a:path>
                <a:path w="613409" h="613410">
                  <a:moveTo>
                    <a:pt x="306699" y="55764"/>
                  </a:moveTo>
                  <a:lnTo>
                    <a:pt x="306699" y="0"/>
                  </a:lnTo>
                </a:path>
                <a:path w="613409" h="613410">
                  <a:moveTo>
                    <a:pt x="613405" y="418235"/>
                  </a:moveTo>
                  <a:lnTo>
                    <a:pt x="557641" y="418235"/>
                  </a:lnTo>
                </a:path>
                <a:path w="613409" h="613410">
                  <a:moveTo>
                    <a:pt x="613405" y="195176"/>
                  </a:moveTo>
                  <a:lnTo>
                    <a:pt x="557641" y="195176"/>
                  </a:lnTo>
                </a:path>
                <a:path w="613409" h="613410">
                  <a:moveTo>
                    <a:pt x="613405" y="306705"/>
                  </a:moveTo>
                  <a:lnTo>
                    <a:pt x="557641" y="306705"/>
                  </a:lnTo>
                </a:path>
                <a:path w="613409" h="613410">
                  <a:moveTo>
                    <a:pt x="55764" y="418235"/>
                  </a:moveTo>
                  <a:lnTo>
                    <a:pt x="0" y="418235"/>
                  </a:lnTo>
                </a:path>
                <a:path w="613409" h="613410">
                  <a:moveTo>
                    <a:pt x="55764" y="195176"/>
                  </a:moveTo>
                  <a:lnTo>
                    <a:pt x="0" y="195176"/>
                  </a:lnTo>
                </a:path>
                <a:path w="613409" h="613410">
                  <a:moveTo>
                    <a:pt x="55764" y="306705"/>
                  </a:moveTo>
                  <a:lnTo>
                    <a:pt x="0" y="306705"/>
                  </a:lnTo>
                </a:path>
                <a:path w="613409" h="613410">
                  <a:moveTo>
                    <a:pt x="195171" y="613406"/>
                  </a:moveTo>
                  <a:lnTo>
                    <a:pt x="195170" y="557642"/>
                  </a:lnTo>
                </a:path>
                <a:path w="613409" h="613410">
                  <a:moveTo>
                    <a:pt x="418229" y="613406"/>
                  </a:moveTo>
                  <a:lnTo>
                    <a:pt x="418229" y="557642"/>
                  </a:lnTo>
                </a:path>
                <a:path w="613409" h="613410">
                  <a:moveTo>
                    <a:pt x="306700" y="613406"/>
                  </a:moveTo>
                  <a:lnTo>
                    <a:pt x="306700" y="557642"/>
                  </a:lnTo>
                </a:path>
              </a:pathLst>
            </a:custGeom>
            <a:ln w="18588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8" name="object 98"/>
            <p:cNvSpPr/>
            <p:nvPr/>
          </p:nvSpPr>
          <p:spPr>
            <a:xfrm>
              <a:off x="10662707" y="1808549"/>
              <a:ext cx="502284" cy="502284"/>
            </a:xfrm>
            <a:custGeom>
              <a:avLst/>
              <a:gdLst/>
              <a:ahLst/>
              <a:cxnLst/>
              <a:rect l="l" t="t" r="r" b="b"/>
              <a:pathLst>
                <a:path w="502284" h="502285">
                  <a:moveTo>
                    <a:pt x="446111" y="0"/>
                  </a:moveTo>
                  <a:lnTo>
                    <a:pt x="55758" y="0"/>
                  </a:lnTo>
                  <a:lnTo>
                    <a:pt x="16330" y="16332"/>
                  </a:lnTo>
                  <a:lnTo>
                    <a:pt x="0" y="55764"/>
                  </a:lnTo>
                  <a:lnTo>
                    <a:pt x="0" y="446117"/>
                  </a:lnTo>
                  <a:lnTo>
                    <a:pt x="16330" y="485544"/>
                  </a:lnTo>
                  <a:lnTo>
                    <a:pt x="55759" y="501877"/>
                  </a:lnTo>
                  <a:lnTo>
                    <a:pt x="446112" y="501877"/>
                  </a:lnTo>
                  <a:lnTo>
                    <a:pt x="467818" y="497495"/>
                  </a:lnTo>
                  <a:lnTo>
                    <a:pt x="485543" y="485544"/>
                  </a:lnTo>
                  <a:lnTo>
                    <a:pt x="497494" y="467820"/>
                  </a:lnTo>
                  <a:lnTo>
                    <a:pt x="501876" y="446117"/>
                  </a:lnTo>
                  <a:lnTo>
                    <a:pt x="501876" y="55764"/>
                  </a:lnTo>
                  <a:lnTo>
                    <a:pt x="497494" y="34058"/>
                  </a:lnTo>
                  <a:lnTo>
                    <a:pt x="485543" y="16333"/>
                  </a:lnTo>
                  <a:lnTo>
                    <a:pt x="467817" y="4382"/>
                  </a:lnTo>
                  <a:lnTo>
                    <a:pt x="44611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9" name="object 99"/>
            <p:cNvSpPr/>
            <p:nvPr/>
          </p:nvSpPr>
          <p:spPr>
            <a:xfrm>
              <a:off x="10662707" y="1808549"/>
              <a:ext cx="502284" cy="502284"/>
            </a:xfrm>
            <a:custGeom>
              <a:avLst/>
              <a:gdLst/>
              <a:ahLst/>
              <a:cxnLst/>
              <a:rect l="l" t="t" r="r" b="b"/>
              <a:pathLst>
                <a:path w="502284" h="502285">
                  <a:moveTo>
                    <a:pt x="446111" y="0"/>
                  </a:moveTo>
                  <a:lnTo>
                    <a:pt x="485543" y="16333"/>
                  </a:lnTo>
                  <a:lnTo>
                    <a:pt x="501876" y="55764"/>
                  </a:lnTo>
                  <a:lnTo>
                    <a:pt x="501876" y="446117"/>
                  </a:lnTo>
                  <a:lnTo>
                    <a:pt x="497494" y="467820"/>
                  </a:lnTo>
                  <a:lnTo>
                    <a:pt x="485543" y="485544"/>
                  </a:lnTo>
                  <a:lnTo>
                    <a:pt x="467818" y="497495"/>
                  </a:lnTo>
                  <a:lnTo>
                    <a:pt x="446112" y="501877"/>
                  </a:lnTo>
                  <a:lnTo>
                    <a:pt x="55759" y="501877"/>
                  </a:lnTo>
                  <a:lnTo>
                    <a:pt x="16330" y="485544"/>
                  </a:lnTo>
                  <a:lnTo>
                    <a:pt x="0" y="446117"/>
                  </a:lnTo>
                  <a:lnTo>
                    <a:pt x="0" y="55764"/>
                  </a:lnTo>
                  <a:lnTo>
                    <a:pt x="4381" y="34058"/>
                  </a:lnTo>
                  <a:lnTo>
                    <a:pt x="16330" y="16332"/>
                  </a:lnTo>
                  <a:lnTo>
                    <a:pt x="34053" y="4382"/>
                  </a:lnTo>
                  <a:lnTo>
                    <a:pt x="55758" y="0"/>
                  </a:lnTo>
                  <a:lnTo>
                    <a:pt x="446111" y="0"/>
                  </a:lnTo>
                  <a:close/>
                </a:path>
              </a:pathLst>
            </a:custGeom>
            <a:ln w="18588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0" name="object 100"/>
            <p:cNvSpPr/>
            <p:nvPr/>
          </p:nvSpPr>
          <p:spPr>
            <a:xfrm>
              <a:off x="10746348" y="1892196"/>
              <a:ext cx="334645" cy="334645"/>
            </a:xfrm>
            <a:custGeom>
              <a:avLst/>
              <a:gdLst/>
              <a:ahLst/>
              <a:cxnLst/>
              <a:rect l="l" t="t" r="r" b="b"/>
              <a:pathLst>
                <a:path w="334645" h="334644">
                  <a:moveTo>
                    <a:pt x="334588" y="0"/>
                  </a:moveTo>
                  <a:lnTo>
                    <a:pt x="0" y="0"/>
                  </a:lnTo>
                  <a:lnTo>
                    <a:pt x="0" y="334588"/>
                  </a:lnTo>
                  <a:lnTo>
                    <a:pt x="334588" y="334588"/>
                  </a:lnTo>
                  <a:lnTo>
                    <a:pt x="33458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1" name="object 101"/>
            <p:cNvSpPr/>
            <p:nvPr/>
          </p:nvSpPr>
          <p:spPr>
            <a:xfrm>
              <a:off x="10746348" y="1892196"/>
              <a:ext cx="334645" cy="334645"/>
            </a:xfrm>
            <a:custGeom>
              <a:avLst/>
              <a:gdLst/>
              <a:ahLst/>
              <a:cxnLst/>
              <a:rect l="l" t="t" r="r" b="b"/>
              <a:pathLst>
                <a:path w="334645" h="334644">
                  <a:moveTo>
                    <a:pt x="0" y="334588"/>
                  </a:moveTo>
                  <a:lnTo>
                    <a:pt x="334588" y="334588"/>
                  </a:lnTo>
                  <a:lnTo>
                    <a:pt x="334588" y="0"/>
                  </a:lnTo>
                  <a:lnTo>
                    <a:pt x="0" y="0"/>
                  </a:lnTo>
                  <a:lnTo>
                    <a:pt x="0" y="334588"/>
                  </a:lnTo>
                  <a:close/>
                </a:path>
              </a:pathLst>
            </a:custGeom>
            <a:ln w="18588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02" name="object 102"/>
            <p:cNvPicPr/>
            <p:nvPr/>
          </p:nvPicPr>
          <p:blipFill>
            <a:blip r:embed="rId19" cstate="print"/>
            <a:stretch>
              <a:fillRect/>
            </a:stretch>
          </p:blipFill>
          <p:spPr>
            <a:xfrm>
              <a:off x="10792354" y="1961902"/>
              <a:ext cx="165899" cy="179841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0" y="830326"/>
            <a:ext cx="675640" cy="12700"/>
          </a:xfrm>
          <a:custGeom>
            <a:avLst/>
            <a:gdLst/>
            <a:ahLst/>
            <a:cxnLst/>
            <a:rect l="l" t="t" r="r" b="b"/>
            <a:pathLst>
              <a:path w="506730" h="9525">
                <a:moveTo>
                  <a:pt x="506145" y="0"/>
                </a:moveTo>
                <a:lnTo>
                  <a:pt x="0" y="0"/>
                </a:lnTo>
                <a:lnTo>
                  <a:pt x="0" y="9525"/>
                </a:lnTo>
                <a:lnTo>
                  <a:pt x="506145" y="9525"/>
                </a:lnTo>
                <a:lnTo>
                  <a:pt x="506145" y="0"/>
                </a:lnTo>
                <a:close/>
              </a:path>
            </a:pathLst>
          </a:custGeom>
          <a:solidFill>
            <a:srgbClr val="00915A"/>
          </a:solidFill>
        </p:spPr>
        <p:txBody>
          <a:bodyPr wrap="square" lIns="0" tIns="0" rIns="0" bIns="0" rtlCol="0"/>
          <a:lstStyle/>
          <a:p>
            <a:endParaRPr sz="2400"/>
          </a:p>
        </p:txBody>
      </p:sp>
      <p:pic>
        <p:nvPicPr>
          <p:cNvPr id="10" name="object 10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479265" y="928488"/>
            <a:ext cx="7477252" cy="4655989"/>
          </a:xfrm>
          <a:prstGeom prst="rect">
            <a:avLst/>
          </a:prstGeom>
        </p:spPr>
      </p:pic>
      <p:sp>
        <p:nvSpPr>
          <p:cNvPr id="15" name="object 15"/>
          <p:cNvSpPr txBox="1"/>
          <p:nvPr/>
        </p:nvSpPr>
        <p:spPr>
          <a:xfrm>
            <a:off x="1794255" y="4888298"/>
            <a:ext cx="713740" cy="404448"/>
          </a:xfrm>
          <a:prstGeom prst="rect">
            <a:avLst/>
          </a:prstGeom>
          <a:solidFill>
            <a:srgbClr val="00AB8E"/>
          </a:solidFill>
        </p:spPr>
        <p:txBody>
          <a:bodyPr vert="horz" wrap="square" lIns="0" tIns="115993" rIns="0" bIns="0" rtlCol="0">
            <a:spAutoFit/>
          </a:bodyPr>
          <a:lstStyle/>
          <a:p>
            <a:pPr algn="ctr">
              <a:spcBef>
                <a:spcPts val="913"/>
              </a:spcBef>
            </a:pPr>
            <a:r>
              <a:rPr sz="1867" b="1" spc="-67" dirty="0">
                <a:solidFill>
                  <a:srgbClr val="FFFFFF"/>
                </a:solidFill>
                <a:latin typeface="Arial"/>
                <a:cs typeface="Arial"/>
              </a:rPr>
              <a:t>1</a:t>
            </a:r>
            <a:endParaRPr sz="1867"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3945127" y="4888298"/>
            <a:ext cx="713740" cy="404448"/>
          </a:xfrm>
          <a:prstGeom prst="rect">
            <a:avLst/>
          </a:prstGeom>
          <a:solidFill>
            <a:srgbClr val="00AB8E"/>
          </a:solidFill>
        </p:spPr>
        <p:txBody>
          <a:bodyPr vert="horz" wrap="square" lIns="0" tIns="115993" rIns="0" bIns="0" rtlCol="0">
            <a:spAutoFit/>
          </a:bodyPr>
          <a:lstStyle/>
          <a:p>
            <a:pPr algn="ctr">
              <a:spcBef>
                <a:spcPts val="913"/>
              </a:spcBef>
            </a:pPr>
            <a:r>
              <a:rPr sz="1867" b="1" spc="-67" dirty="0">
                <a:solidFill>
                  <a:srgbClr val="FFFFFF"/>
                </a:solidFill>
                <a:latin typeface="Arial"/>
                <a:cs typeface="Arial"/>
              </a:rPr>
              <a:t>2</a:t>
            </a:r>
            <a:endParaRPr sz="1867"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6096001" y="4888298"/>
            <a:ext cx="713740" cy="404448"/>
          </a:xfrm>
          <a:prstGeom prst="rect">
            <a:avLst/>
          </a:prstGeom>
          <a:solidFill>
            <a:srgbClr val="00AB8E"/>
          </a:solidFill>
        </p:spPr>
        <p:txBody>
          <a:bodyPr vert="horz" wrap="square" lIns="0" tIns="115993" rIns="0" bIns="0" rtlCol="0">
            <a:spAutoFit/>
          </a:bodyPr>
          <a:lstStyle/>
          <a:p>
            <a:pPr algn="ctr">
              <a:spcBef>
                <a:spcPts val="913"/>
              </a:spcBef>
            </a:pPr>
            <a:r>
              <a:rPr sz="1867" b="1" spc="-67" dirty="0">
                <a:solidFill>
                  <a:srgbClr val="FFFFFF"/>
                </a:solidFill>
                <a:latin typeface="Arial"/>
                <a:cs typeface="Arial"/>
              </a:rPr>
              <a:t>3</a:t>
            </a:r>
            <a:endParaRPr sz="1867">
              <a:latin typeface="Arial"/>
              <a:cs typeface="Arial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ABA5A1-5851-27BB-AC58-71AAECAD0537}"/>
              </a:ext>
            </a:extLst>
          </p:cNvPr>
          <p:cNvSpPr txBox="1">
            <a:spLocks/>
          </p:cNvSpPr>
          <p:nvPr/>
        </p:nvSpPr>
        <p:spPr>
          <a:xfrm>
            <a:off x="551384" y="129333"/>
            <a:ext cx="6048672" cy="615531"/>
          </a:xfrm>
        </p:spPr>
        <p:txBody>
          <a:bodyPr vert="horz" lIns="91440" tIns="45720" rIns="91440" bIns="45720" rtlCol="0" anchor="ctr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kern="100" dirty="0">
                <a:solidFill>
                  <a:schemeClr val="tx2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Dalla Traditional AI </a:t>
            </a:r>
            <a:r>
              <a:rPr lang="en-US" sz="2800" b="1" kern="100" dirty="0" err="1">
                <a:solidFill>
                  <a:schemeClr val="tx2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alla</a:t>
            </a:r>
            <a:r>
              <a:rPr lang="en-US" sz="2800" b="1" kern="100" dirty="0">
                <a:solidFill>
                  <a:schemeClr val="tx2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GenAI</a:t>
            </a: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7CB4F97A-A8B2-0272-FBE3-5DF432FD85CD}"/>
              </a:ext>
            </a:extLst>
          </p:cNvPr>
          <p:cNvSpPr txBox="1"/>
          <p:nvPr/>
        </p:nvSpPr>
        <p:spPr>
          <a:xfrm>
            <a:off x="8233663" y="1844824"/>
            <a:ext cx="3420194" cy="25922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457200" marR="0" lvl="0" indent="-3429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AC1938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ogrammazione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radizionale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</a:p>
          <a:p>
            <a:pPr marL="457200" marR="0" lvl="0" indent="-3429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AC1938"/>
              </a:buClr>
              <a:buSzTx/>
              <a:buFont typeface="+mj-lt"/>
              <a:buAutoNum type="arabicPeriod"/>
              <a:tabLst/>
              <a:defRPr/>
            </a:pPr>
            <a:endParaRPr lang="en-US" sz="1400" dirty="0">
              <a:solidFill>
                <a:srgbClr val="5A5A5A"/>
              </a:solidFill>
              <a:latin typeface="Verdana"/>
            </a:endParaRPr>
          </a:p>
          <a:p>
            <a:pPr marL="457200" marR="0" lvl="0" indent="-3429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AC1938"/>
              </a:buClr>
              <a:buSzTx/>
              <a:buFont typeface="+mj-lt"/>
              <a:buAutoNum type="arabicPeriod"/>
              <a:tabLst/>
              <a:defRPr/>
            </a:pP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457200" marR="0" lvl="0" indent="-3429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AC1938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I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e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i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vvale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di Deep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aearning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e Neural networks</a:t>
            </a:r>
          </a:p>
          <a:p>
            <a:pPr marL="457200" marR="0" lvl="0" indent="-3429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AC1938"/>
              </a:buClr>
              <a:buSzTx/>
              <a:buFont typeface="+mj-lt"/>
              <a:buAutoNum type="arabicPeriod"/>
              <a:tabLst/>
              <a:defRPr/>
            </a:pPr>
            <a:endParaRPr lang="en-US" sz="1400" dirty="0">
              <a:solidFill>
                <a:srgbClr val="5A5A5A"/>
              </a:solidFill>
              <a:latin typeface="Verdana"/>
            </a:endParaRPr>
          </a:p>
          <a:p>
            <a:pPr marL="457200" marR="0" lvl="0" indent="-3429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AC1938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GenAI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e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i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vvale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di Large Language Models - LLM</a:t>
            </a: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BD0A3551-A79E-BA15-1A2D-D2F28451D83D}"/>
              </a:ext>
            </a:extLst>
          </p:cNvPr>
          <p:cNvSpPr txBox="1"/>
          <p:nvPr/>
        </p:nvSpPr>
        <p:spPr>
          <a:xfrm>
            <a:off x="8233663" y="2060848"/>
            <a:ext cx="3343329" cy="2805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114300" marR="0" lvl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AC1938"/>
              </a:buClr>
              <a:buSzTx/>
              <a:tabLst/>
              <a:defRPr/>
            </a:pP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444500" y="309118"/>
            <a:ext cx="8963868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800" cap="all" dirty="0">
                <a:solidFill>
                  <a:schemeClr val="tx2"/>
                </a:solidFill>
                <a:latin typeface="Verdana" panose="020B0604030504040204" pitchFamily="34" charset="0"/>
                <a:cs typeface="+mj-cs"/>
              </a:rPr>
              <a:t>GENERATIVE AI VERSUS</a:t>
            </a:r>
            <a:r>
              <a:rPr lang="it-IT" sz="2800" cap="all" dirty="0">
                <a:solidFill>
                  <a:schemeClr val="tx2"/>
                </a:solidFill>
                <a:latin typeface="Verdana" panose="020B0604030504040204" pitchFamily="34" charset="0"/>
                <a:cs typeface="+mj-cs"/>
              </a:rPr>
              <a:t> </a:t>
            </a:r>
            <a:r>
              <a:rPr sz="2800" cap="all" dirty="0">
                <a:solidFill>
                  <a:schemeClr val="tx2"/>
                </a:solidFill>
                <a:latin typeface="Verdana" panose="020B0604030504040204" pitchFamily="34" charset="0"/>
                <a:cs typeface="+mj-cs"/>
              </a:rPr>
              <a:t>TRADITIONAL AI</a:t>
            </a:r>
          </a:p>
        </p:txBody>
      </p:sp>
      <p:sp>
        <p:nvSpPr>
          <p:cNvPr id="9" name="object 9"/>
          <p:cNvSpPr txBox="1"/>
          <p:nvPr/>
        </p:nvSpPr>
        <p:spPr>
          <a:xfrm>
            <a:off x="7723885" y="496951"/>
            <a:ext cx="400494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76530" algn="ctr">
              <a:lnSpc>
                <a:spcPct val="100000"/>
              </a:lnSpc>
              <a:spcBef>
                <a:spcPts val="100"/>
              </a:spcBef>
            </a:pPr>
            <a:r>
              <a:rPr sz="1200" b="1" spc="-185" dirty="0">
                <a:solidFill>
                  <a:srgbClr val="FFFFFF"/>
                </a:solidFill>
                <a:latin typeface="Trebuchet MS"/>
                <a:cs typeface="Trebuchet MS"/>
              </a:rPr>
              <a:t>THE</a:t>
            </a:r>
            <a:r>
              <a:rPr sz="1200" b="1" spc="-90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200" b="1" spc="-100" dirty="0">
                <a:solidFill>
                  <a:srgbClr val="FFFFFF"/>
                </a:solidFill>
                <a:latin typeface="Trebuchet MS"/>
                <a:cs typeface="Trebuchet MS"/>
              </a:rPr>
              <a:t>BASIC</a:t>
            </a:r>
            <a:r>
              <a:rPr sz="1200" b="1" spc="-120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200" b="1" spc="-30" dirty="0">
                <a:solidFill>
                  <a:srgbClr val="FFFFFF"/>
                </a:solidFill>
                <a:latin typeface="Trebuchet MS"/>
                <a:cs typeface="Trebuchet MS"/>
              </a:rPr>
              <a:t>CONCEPTS</a:t>
            </a:r>
            <a:endParaRPr sz="1200">
              <a:latin typeface="Trebuchet MS"/>
              <a:cs typeface="Trebuchet MS"/>
            </a:endParaRPr>
          </a:p>
        </p:txBody>
      </p:sp>
      <p:grpSp>
        <p:nvGrpSpPr>
          <p:cNvPr id="14" name="object 14"/>
          <p:cNvGrpSpPr/>
          <p:nvPr/>
        </p:nvGrpSpPr>
        <p:grpSpPr>
          <a:xfrm>
            <a:off x="444220" y="1397012"/>
            <a:ext cx="11297285" cy="454659"/>
            <a:chOff x="444220" y="1397012"/>
            <a:chExt cx="11297285" cy="454659"/>
          </a:xfrm>
        </p:grpSpPr>
        <p:sp>
          <p:nvSpPr>
            <p:cNvPr id="15" name="object 15"/>
            <p:cNvSpPr/>
            <p:nvPr/>
          </p:nvSpPr>
          <p:spPr>
            <a:xfrm>
              <a:off x="450570" y="1844801"/>
              <a:ext cx="11284585" cy="0"/>
            </a:xfrm>
            <a:custGeom>
              <a:avLst/>
              <a:gdLst/>
              <a:ahLst/>
              <a:cxnLst/>
              <a:rect l="l" t="t" r="r" b="b"/>
              <a:pathLst>
                <a:path w="11284585">
                  <a:moveTo>
                    <a:pt x="0" y="0"/>
                  </a:moveTo>
                  <a:lnTo>
                    <a:pt x="11284229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2260345" y="1397012"/>
              <a:ext cx="4534535" cy="443230"/>
            </a:xfrm>
            <a:custGeom>
              <a:avLst/>
              <a:gdLst/>
              <a:ahLst/>
              <a:cxnLst/>
              <a:rect l="l" t="t" r="r" b="b"/>
              <a:pathLst>
                <a:path w="4534534" h="443230">
                  <a:moveTo>
                    <a:pt x="4534534" y="0"/>
                  </a:moveTo>
                  <a:lnTo>
                    <a:pt x="0" y="0"/>
                  </a:lnTo>
                  <a:lnTo>
                    <a:pt x="0" y="443090"/>
                  </a:lnTo>
                  <a:lnTo>
                    <a:pt x="4534534" y="443090"/>
                  </a:lnTo>
                  <a:lnTo>
                    <a:pt x="4534534" y="0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7" name="object 17"/>
          <p:cNvSpPr txBox="1"/>
          <p:nvPr/>
        </p:nvSpPr>
        <p:spPr>
          <a:xfrm>
            <a:off x="3575720" y="1484503"/>
            <a:ext cx="2376264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95"/>
              </a:spcBef>
            </a:pPr>
            <a:r>
              <a:rPr sz="1600" b="1" cap="all" dirty="0">
                <a:solidFill>
                  <a:schemeClr val="bg1"/>
                </a:solidFill>
                <a:latin typeface="Verdana" panose="020B0604030504040204" pitchFamily="34" charset="0"/>
                <a:ea typeface="+mj-ea"/>
                <a:cs typeface="+mj-cs"/>
              </a:rPr>
              <a:t>TRADITIONAL AI</a:t>
            </a:r>
          </a:p>
        </p:txBody>
      </p:sp>
      <p:sp>
        <p:nvSpPr>
          <p:cNvPr id="18" name="object 18"/>
          <p:cNvSpPr/>
          <p:nvPr/>
        </p:nvSpPr>
        <p:spPr>
          <a:xfrm>
            <a:off x="6925429" y="1358060"/>
            <a:ext cx="4932045" cy="443230"/>
          </a:xfrm>
          <a:custGeom>
            <a:avLst/>
            <a:gdLst/>
            <a:ahLst/>
            <a:cxnLst/>
            <a:rect l="l" t="t" r="r" b="b"/>
            <a:pathLst>
              <a:path w="4932045" h="443230">
                <a:moveTo>
                  <a:pt x="4931790" y="0"/>
                </a:moveTo>
                <a:lnTo>
                  <a:pt x="0" y="0"/>
                </a:lnTo>
                <a:lnTo>
                  <a:pt x="0" y="443090"/>
                </a:lnTo>
                <a:lnTo>
                  <a:pt x="4931790" y="443090"/>
                </a:lnTo>
                <a:lnTo>
                  <a:pt x="4931790" y="0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 txBox="1"/>
          <p:nvPr/>
        </p:nvSpPr>
        <p:spPr>
          <a:xfrm>
            <a:off x="8690736" y="1484503"/>
            <a:ext cx="2373816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95"/>
              </a:spcBef>
            </a:pPr>
            <a:r>
              <a:rPr sz="1600" b="1" cap="all" dirty="0">
                <a:solidFill>
                  <a:schemeClr val="bg1"/>
                </a:solidFill>
                <a:latin typeface="Verdana" panose="020B0604030504040204" pitchFamily="34" charset="0"/>
                <a:ea typeface="+mj-ea"/>
                <a:cs typeface="+mj-cs"/>
              </a:rPr>
              <a:t>GENERATIVE AI</a:t>
            </a:r>
          </a:p>
        </p:txBody>
      </p:sp>
      <p:grpSp>
        <p:nvGrpSpPr>
          <p:cNvPr id="20" name="object 20"/>
          <p:cNvGrpSpPr/>
          <p:nvPr/>
        </p:nvGrpSpPr>
        <p:grpSpPr>
          <a:xfrm>
            <a:off x="6439408" y="1232788"/>
            <a:ext cx="695325" cy="695325"/>
            <a:chOff x="6439408" y="1232788"/>
            <a:chExt cx="695325" cy="695325"/>
          </a:xfrm>
        </p:grpSpPr>
        <p:sp>
          <p:nvSpPr>
            <p:cNvPr id="21" name="object 21"/>
            <p:cNvSpPr/>
            <p:nvPr/>
          </p:nvSpPr>
          <p:spPr>
            <a:xfrm>
              <a:off x="6448933" y="1242313"/>
              <a:ext cx="676275" cy="676275"/>
            </a:xfrm>
            <a:custGeom>
              <a:avLst/>
              <a:gdLst/>
              <a:ahLst/>
              <a:cxnLst/>
              <a:rect l="l" t="t" r="r" b="b"/>
              <a:pathLst>
                <a:path w="676275" h="676275">
                  <a:moveTo>
                    <a:pt x="337946" y="0"/>
                  </a:moveTo>
                  <a:lnTo>
                    <a:pt x="292079" y="3084"/>
                  </a:lnTo>
                  <a:lnTo>
                    <a:pt x="248090" y="12067"/>
                  </a:lnTo>
                  <a:lnTo>
                    <a:pt x="206382" y="26548"/>
                  </a:lnTo>
                  <a:lnTo>
                    <a:pt x="167357" y="46124"/>
                  </a:lnTo>
                  <a:lnTo>
                    <a:pt x="131417" y="70392"/>
                  </a:lnTo>
                  <a:lnTo>
                    <a:pt x="98964" y="98948"/>
                  </a:lnTo>
                  <a:lnTo>
                    <a:pt x="70401" y="131392"/>
                  </a:lnTo>
                  <a:lnTo>
                    <a:pt x="46129" y="167320"/>
                  </a:lnTo>
                  <a:lnTo>
                    <a:pt x="26550" y="206329"/>
                  </a:lnTo>
                  <a:lnTo>
                    <a:pt x="12068" y="248017"/>
                  </a:lnTo>
                  <a:lnTo>
                    <a:pt x="3084" y="291981"/>
                  </a:lnTo>
                  <a:lnTo>
                    <a:pt x="0" y="337820"/>
                  </a:lnTo>
                  <a:lnTo>
                    <a:pt x="3084" y="383687"/>
                  </a:lnTo>
                  <a:lnTo>
                    <a:pt x="12068" y="427676"/>
                  </a:lnTo>
                  <a:lnTo>
                    <a:pt x="26550" y="469384"/>
                  </a:lnTo>
                  <a:lnTo>
                    <a:pt x="46129" y="508409"/>
                  </a:lnTo>
                  <a:lnTo>
                    <a:pt x="70401" y="544349"/>
                  </a:lnTo>
                  <a:lnTo>
                    <a:pt x="98964" y="576802"/>
                  </a:lnTo>
                  <a:lnTo>
                    <a:pt x="131417" y="605365"/>
                  </a:lnTo>
                  <a:lnTo>
                    <a:pt x="167357" y="629637"/>
                  </a:lnTo>
                  <a:lnTo>
                    <a:pt x="206382" y="649216"/>
                  </a:lnTo>
                  <a:lnTo>
                    <a:pt x="248090" y="663698"/>
                  </a:lnTo>
                  <a:lnTo>
                    <a:pt x="292079" y="672682"/>
                  </a:lnTo>
                  <a:lnTo>
                    <a:pt x="337946" y="675766"/>
                  </a:lnTo>
                  <a:lnTo>
                    <a:pt x="383785" y="672682"/>
                  </a:lnTo>
                  <a:lnTo>
                    <a:pt x="427749" y="663698"/>
                  </a:lnTo>
                  <a:lnTo>
                    <a:pt x="469437" y="649216"/>
                  </a:lnTo>
                  <a:lnTo>
                    <a:pt x="508446" y="629637"/>
                  </a:lnTo>
                  <a:lnTo>
                    <a:pt x="544374" y="605365"/>
                  </a:lnTo>
                  <a:lnTo>
                    <a:pt x="576818" y="576802"/>
                  </a:lnTo>
                  <a:lnTo>
                    <a:pt x="605374" y="544349"/>
                  </a:lnTo>
                  <a:lnTo>
                    <a:pt x="629642" y="508409"/>
                  </a:lnTo>
                  <a:lnTo>
                    <a:pt x="649218" y="469384"/>
                  </a:lnTo>
                  <a:lnTo>
                    <a:pt x="663699" y="427676"/>
                  </a:lnTo>
                  <a:lnTo>
                    <a:pt x="672682" y="383687"/>
                  </a:lnTo>
                  <a:lnTo>
                    <a:pt x="675766" y="337820"/>
                  </a:lnTo>
                  <a:lnTo>
                    <a:pt x="672682" y="291981"/>
                  </a:lnTo>
                  <a:lnTo>
                    <a:pt x="663699" y="248017"/>
                  </a:lnTo>
                  <a:lnTo>
                    <a:pt x="649218" y="206329"/>
                  </a:lnTo>
                  <a:lnTo>
                    <a:pt x="629642" y="167320"/>
                  </a:lnTo>
                  <a:lnTo>
                    <a:pt x="605374" y="131392"/>
                  </a:lnTo>
                  <a:lnTo>
                    <a:pt x="576818" y="98948"/>
                  </a:lnTo>
                  <a:lnTo>
                    <a:pt x="544374" y="70392"/>
                  </a:lnTo>
                  <a:lnTo>
                    <a:pt x="508446" y="46124"/>
                  </a:lnTo>
                  <a:lnTo>
                    <a:pt x="469437" y="26548"/>
                  </a:lnTo>
                  <a:lnTo>
                    <a:pt x="427749" y="12067"/>
                  </a:lnTo>
                  <a:lnTo>
                    <a:pt x="383785" y="3084"/>
                  </a:lnTo>
                  <a:lnTo>
                    <a:pt x="337946" y="0"/>
                  </a:lnTo>
                  <a:close/>
                </a:path>
              </a:pathLst>
            </a:custGeom>
            <a:solidFill>
              <a:srgbClr val="EFEFE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22"/>
            <p:cNvSpPr/>
            <p:nvPr/>
          </p:nvSpPr>
          <p:spPr>
            <a:xfrm>
              <a:off x="6448933" y="1242313"/>
              <a:ext cx="676275" cy="676275"/>
            </a:xfrm>
            <a:custGeom>
              <a:avLst/>
              <a:gdLst/>
              <a:ahLst/>
              <a:cxnLst/>
              <a:rect l="l" t="t" r="r" b="b"/>
              <a:pathLst>
                <a:path w="676275" h="676275">
                  <a:moveTo>
                    <a:pt x="0" y="337820"/>
                  </a:moveTo>
                  <a:lnTo>
                    <a:pt x="3084" y="291981"/>
                  </a:lnTo>
                  <a:lnTo>
                    <a:pt x="12068" y="248017"/>
                  </a:lnTo>
                  <a:lnTo>
                    <a:pt x="26550" y="206329"/>
                  </a:lnTo>
                  <a:lnTo>
                    <a:pt x="46129" y="167320"/>
                  </a:lnTo>
                  <a:lnTo>
                    <a:pt x="70401" y="131392"/>
                  </a:lnTo>
                  <a:lnTo>
                    <a:pt x="98964" y="98948"/>
                  </a:lnTo>
                  <a:lnTo>
                    <a:pt x="131417" y="70392"/>
                  </a:lnTo>
                  <a:lnTo>
                    <a:pt x="167357" y="46124"/>
                  </a:lnTo>
                  <a:lnTo>
                    <a:pt x="206382" y="26548"/>
                  </a:lnTo>
                  <a:lnTo>
                    <a:pt x="248090" y="12067"/>
                  </a:lnTo>
                  <a:lnTo>
                    <a:pt x="292079" y="3084"/>
                  </a:lnTo>
                  <a:lnTo>
                    <a:pt x="337946" y="0"/>
                  </a:lnTo>
                  <a:lnTo>
                    <a:pt x="383785" y="3084"/>
                  </a:lnTo>
                  <a:lnTo>
                    <a:pt x="427749" y="12067"/>
                  </a:lnTo>
                  <a:lnTo>
                    <a:pt x="469437" y="26548"/>
                  </a:lnTo>
                  <a:lnTo>
                    <a:pt x="508446" y="46124"/>
                  </a:lnTo>
                  <a:lnTo>
                    <a:pt x="544374" y="70392"/>
                  </a:lnTo>
                  <a:lnTo>
                    <a:pt x="576818" y="98948"/>
                  </a:lnTo>
                  <a:lnTo>
                    <a:pt x="605374" y="131392"/>
                  </a:lnTo>
                  <a:lnTo>
                    <a:pt x="629642" y="167320"/>
                  </a:lnTo>
                  <a:lnTo>
                    <a:pt x="649218" y="206329"/>
                  </a:lnTo>
                  <a:lnTo>
                    <a:pt x="663699" y="248017"/>
                  </a:lnTo>
                  <a:lnTo>
                    <a:pt x="672682" y="291981"/>
                  </a:lnTo>
                  <a:lnTo>
                    <a:pt x="675766" y="337820"/>
                  </a:lnTo>
                  <a:lnTo>
                    <a:pt x="672682" y="383687"/>
                  </a:lnTo>
                  <a:lnTo>
                    <a:pt x="663699" y="427676"/>
                  </a:lnTo>
                  <a:lnTo>
                    <a:pt x="649218" y="469384"/>
                  </a:lnTo>
                  <a:lnTo>
                    <a:pt x="629642" y="508409"/>
                  </a:lnTo>
                  <a:lnTo>
                    <a:pt x="605374" y="544349"/>
                  </a:lnTo>
                  <a:lnTo>
                    <a:pt x="576818" y="576802"/>
                  </a:lnTo>
                  <a:lnTo>
                    <a:pt x="544374" y="605365"/>
                  </a:lnTo>
                  <a:lnTo>
                    <a:pt x="508446" y="629637"/>
                  </a:lnTo>
                  <a:lnTo>
                    <a:pt x="469437" y="649216"/>
                  </a:lnTo>
                  <a:lnTo>
                    <a:pt x="427749" y="663698"/>
                  </a:lnTo>
                  <a:lnTo>
                    <a:pt x="383785" y="672682"/>
                  </a:lnTo>
                  <a:lnTo>
                    <a:pt x="337946" y="675766"/>
                  </a:lnTo>
                  <a:lnTo>
                    <a:pt x="292079" y="672682"/>
                  </a:lnTo>
                  <a:lnTo>
                    <a:pt x="248090" y="663698"/>
                  </a:lnTo>
                  <a:lnTo>
                    <a:pt x="206382" y="649216"/>
                  </a:lnTo>
                  <a:lnTo>
                    <a:pt x="167357" y="629637"/>
                  </a:lnTo>
                  <a:lnTo>
                    <a:pt x="131417" y="605365"/>
                  </a:lnTo>
                  <a:lnTo>
                    <a:pt x="98964" y="576802"/>
                  </a:lnTo>
                  <a:lnTo>
                    <a:pt x="70401" y="544349"/>
                  </a:lnTo>
                  <a:lnTo>
                    <a:pt x="46129" y="508409"/>
                  </a:lnTo>
                  <a:lnTo>
                    <a:pt x="26550" y="469384"/>
                  </a:lnTo>
                  <a:lnTo>
                    <a:pt x="12068" y="427676"/>
                  </a:lnTo>
                  <a:lnTo>
                    <a:pt x="3084" y="383687"/>
                  </a:lnTo>
                  <a:lnTo>
                    <a:pt x="0" y="337820"/>
                  </a:lnTo>
                  <a:close/>
                </a:path>
              </a:pathLst>
            </a:custGeom>
            <a:ln w="1905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3" name="object 23"/>
          <p:cNvSpPr txBox="1"/>
          <p:nvPr/>
        </p:nvSpPr>
        <p:spPr>
          <a:xfrm>
            <a:off x="6636384" y="1372870"/>
            <a:ext cx="31496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0"/>
              </a:spcBef>
            </a:pPr>
            <a:r>
              <a:rPr sz="2400" b="1" spc="-150" dirty="0">
                <a:latin typeface="Trebuchet MS"/>
                <a:cs typeface="Trebuchet MS"/>
              </a:rPr>
              <a:t>VS</a:t>
            </a:r>
            <a:endParaRPr sz="2400" dirty="0">
              <a:latin typeface="Trebuchet MS"/>
              <a:cs typeface="Trebuchet MS"/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6822185" y="2599105"/>
            <a:ext cx="4946650" cy="455295"/>
          </a:xfrm>
          <a:custGeom>
            <a:avLst/>
            <a:gdLst/>
            <a:ahLst/>
            <a:cxnLst/>
            <a:rect l="l" t="t" r="r" b="b"/>
            <a:pathLst>
              <a:path w="4946650" h="455294">
                <a:moveTo>
                  <a:pt x="0" y="455244"/>
                </a:moveTo>
                <a:lnTo>
                  <a:pt x="4946523" y="455244"/>
                </a:lnTo>
                <a:lnTo>
                  <a:pt x="4946523" y="0"/>
                </a:lnTo>
                <a:lnTo>
                  <a:pt x="0" y="0"/>
                </a:lnTo>
                <a:lnTo>
                  <a:pt x="0" y="455244"/>
                </a:lnTo>
                <a:close/>
              </a:path>
            </a:pathLst>
          </a:custGeom>
          <a:ln w="28575">
            <a:solidFill>
              <a:srgbClr val="009DDF"/>
            </a:solidFill>
            <a:prstDash val="sysDash"/>
          </a:ln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25" name="object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6677469"/>
              </p:ext>
            </p:extLst>
          </p:nvPr>
        </p:nvGraphicFramePr>
        <p:xfrm>
          <a:off x="450570" y="1979548"/>
          <a:ext cx="11318240" cy="420750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651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72059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9466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01650">
                <a:tc>
                  <a:txBody>
                    <a:bodyPr/>
                    <a:lstStyle/>
                    <a:p>
                      <a:pPr marL="91440">
                        <a:lnSpc>
                          <a:spcPts val="1335"/>
                        </a:lnSpc>
                      </a:pPr>
                      <a:r>
                        <a:rPr sz="1400" b="1" spc="-10" dirty="0">
                          <a:latin typeface="Calibri"/>
                          <a:cs typeface="Calibri"/>
                        </a:rPr>
                        <a:t>Description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B w="9525">
                      <a:solidFill>
                        <a:srgbClr val="DADADA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34315">
                        <a:lnSpc>
                          <a:spcPts val="1335"/>
                        </a:lnSpc>
                      </a:pPr>
                      <a:r>
                        <a:rPr sz="1400" spc="-10" dirty="0">
                          <a:latin typeface="Calibri"/>
                          <a:cs typeface="Calibri"/>
                        </a:rPr>
                        <a:t>Advanced</a:t>
                      </a:r>
                      <a:r>
                        <a:rPr sz="1400" spc="-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analytical</a:t>
                      </a:r>
                      <a:r>
                        <a:rPr sz="14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techniques</a:t>
                      </a:r>
                      <a:r>
                        <a:rPr sz="14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relying</a:t>
                      </a:r>
                      <a:r>
                        <a:rPr sz="1400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on</a:t>
                      </a:r>
                      <a:r>
                        <a:rPr sz="1400" spc="-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different</a:t>
                      </a:r>
                      <a:endParaRPr sz="1400">
                        <a:latin typeface="Calibri"/>
                        <a:cs typeface="Calibri"/>
                      </a:endParaRPr>
                    </a:p>
                    <a:p>
                      <a:pPr marL="234315">
                        <a:lnSpc>
                          <a:spcPct val="100000"/>
                        </a:lnSpc>
                      </a:pPr>
                      <a:r>
                        <a:rPr sz="1400" spc="-10" dirty="0">
                          <a:latin typeface="Calibri"/>
                          <a:cs typeface="Calibri"/>
                        </a:rPr>
                        <a:t>algorithms</a:t>
                      </a:r>
                      <a:r>
                        <a:rPr sz="14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and large</a:t>
                      </a:r>
                      <a:r>
                        <a:rPr sz="14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organised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data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20" dirty="0">
                          <a:latin typeface="Calibri"/>
                          <a:cs typeface="Calibri"/>
                        </a:rPr>
                        <a:t>sets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B w="9525">
                      <a:solidFill>
                        <a:srgbClr val="DADADA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45720">
                        <a:lnSpc>
                          <a:spcPts val="1335"/>
                        </a:lnSpc>
                      </a:pPr>
                      <a:r>
                        <a:rPr sz="1400" dirty="0">
                          <a:latin typeface="Calibri"/>
                          <a:cs typeface="Calibri"/>
                        </a:rPr>
                        <a:t>A</a:t>
                      </a:r>
                      <a:r>
                        <a:rPr sz="14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new</a:t>
                      </a:r>
                      <a:r>
                        <a:rPr sz="14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field</a:t>
                      </a:r>
                      <a:r>
                        <a:rPr sz="1400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of</a:t>
                      </a:r>
                      <a:r>
                        <a:rPr sz="1400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AI</a:t>
                      </a:r>
                      <a:r>
                        <a:rPr sz="1400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with</a:t>
                      </a:r>
                      <a:r>
                        <a:rPr sz="14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the</a:t>
                      </a:r>
                      <a:r>
                        <a:rPr sz="14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ability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to</a:t>
                      </a:r>
                      <a:r>
                        <a:rPr sz="14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generate</a:t>
                      </a:r>
                      <a:r>
                        <a:rPr sz="14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outputs</a:t>
                      </a:r>
                      <a:r>
                        <a:rPr sz="14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in</a:t>
                      </a:r>
                      <a:r>
                        <a:rPr sz="14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20" dirty="0">
                          <a:latin typeface="Calibri"/>
                          <a:cs typeface="Calibri"/>
                        </a:rPr>
                        <a:t>text</a:t>
                      </a:r>
                      <a:endParaRPr sz="1400">
                        <a:latin typeface="Calibri"/>
                        <a:cs typeface="Calibri"/>
                      </a:endParaRPr>
                    </a:p>
                    <a:p>
                      <a:pPr marL="45720">
                        <a:lnSpc>
                          <a:spcPct val="100000"/>
                        </a:lnSpc>
                      </a:pPr>
                      <a:r>
                        <a:rPr sz="1400" dirty="0">
                          <a:latin typeface="Calibri"/>
                          <a:cs typeface="Calibri"/>
                        </a:rPr>
                        <a:t>and</a:t>
                      </a:r>
                      <a:r>
                        <a:rPr sz="1400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other</a:t>
                      </a:r>
                      <a:r>
                        <a:rPr sz="14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mediums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B w="9525">
                      <a:solidFill>
                        <a:srgbClr val="DADADA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T w="9525">
                      <a:solidFill>
                        <a:srgbClr val="DADADA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T w="9525">
                      <a:solidFill>
                        <a:srgbClr val="DADADA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T w="9525">
                      <a:solidFill>
                        <a:srgbClr val="DADADA"/>
                      </a:solidFill>
                      <a:prstDash val="soli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09980">
                <a:tc>
                  <a:txBody>
                    <a:bodyPr/>
                    <a:lstStyle/>
                    <a:p>
                      <a:pPr marL="91440">
                        <a:lnSpc>
                          <a:spcPts val="1565"/>
                        </a:lnSpc>
                      </a:pPr>
                      <a:r>
                        <a:rPr sz="1400" b="1" dirty="0">
                          <a:latin typeface="Calibri"/>
                          <a:cs typeface="Calibri"/>
                        </a:rPr>
                        <a:t>Example</a:t>
                      </a:r>
                      <a:r>
                        <a:rPr sz="1400" b="1" spc="-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b="1" spc="-10" dirty="0">
                          <a:latin typeface="Calibri"/>
                          <a:cs typeface="Calibri"/>
                        </a:rPr>
                        <a:t>methods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B w="9525">
                      <a:solidFill>
                        <a:srgbClr val="DADADA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413384" indent="-179070">
                        <a:lnSpc>
                          <a:spcPts val="1565"/>
                        </a:lnSpc>
                        <a:buFont typeface="Arial MT"/>
                        <a:buChar char="•"/>
                        <a:tabLst>
                          <a:tab pos="413384" algn="l"/>
                        </a:tabLst>
                      </a:pPr>
                      <a:r>
                        <a:rPr sz="1400" spc="-10" dirty="0">
                          <a:latin typeface="Calibri"/>
                          <a:cs typeface="Calibri"/>
                        </a:rPr>
                        <a:t>Regression,</a:t>
                      </a:r>
                      <a:r>
                        <a:rPr sz="1400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classification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 and</a:t>
                      </a:r>
                      <a:r>
                        <a:rPr sz="1400" spc="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advanced</a:t>
                      </a:r>
                      <a:r>
                        <a:rPr sz="1400" spc="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analytics</a:t>
                      </a:r>
                      <a:endParaRPr sz="1400" dirty="0">
                        <a:latin typeface="Calibri"/>
                        <a:cs typeface="Calibri"/>
                      </a:endParaRPr>
                    </a:p>
                    <a:p>
                      <a:pPr marL="413384" indent="-179070">
                        <a:lnSpc>
                          <a:spcPct val="100000"/>
                        </a:lnSpc>
                        <a:spcBef>
                          <a:spcPts val="600"/>
                        </a:spcBef>
                        <a:buFont typeface="Arial MT"/>
                        <a:buChar char="•"/>
                        <a:tabLst>
                          <a:tab pos="413384" algn="l"/>
                        </a:tabLst>
                      </a:pPr>
                      <a:r>
                        <a:rPr sz="1400" dirty="0">
                          <a:latin typeface="Calibri"/>
                          <a:cs typeface="Calibri"/>
                        </a:rPr>
                        <a:t>Voice</a:t>
                      </a:r>
                      <a:r>
                        <a:rPr sz="14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recognition</a:t>
                      </a:r>
                      <a:endParaRPr sz="1400" dirty="0">
                        <a:latin typeface="Calibri"/>
                        <a:cs typeface="Calibri"/>
                      </a:endParaRPr>
                    </a:p>
                    <a:p>
                      <a:pPr marL="413384" indent="-179070">
                        <a:lnSpc>
                          <a:spcPct val="100000"/>
                        </a:lnSpc>
                        <a:spcBef>
                          <a:spcPts val="600"/>
                        </a:spcBef>
                        <a:buFont typeface="Arial MT"/>
                        <a:buChar char="•"/>
                        <a:tabLst>
                          <a:tab pos="413384" algn="l"/>
                        </a:tabLst>
                      </a:pPr>
                      <a:r>
                        <a:rPr sz="1400" dirty="0">
                          <a:latin typeface="Calibri"/>
                          <a:cs typeface="Calibri"/>
                        </a:rPr>
                        <a:t>Natural</a:t>
                      </a:r>
                      <a:r>
                        <a:rPr sz="1400" spc="-6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Language</a:t>
                      </a:r>
                      <a:r>
                        <a:rPr sz="1400" spc="-5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Processing</a:t>
                      </a:r>
                      <a:r>
                        <a:rPr sz="1400" spc="-6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20" dirty="0">
                          <a:latin typeface="Calibri"/>
                          <a:cs typeface="Calibri"/>
                        </a:rPr>
                        <a:t>(NLP)</a:t>
                      </a:r>
                      <a:endParaRPr sz="14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B w="9525">
                      <a:solidFill>
                        <a:srgbClr val="DADADA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4790" indent="-179070">
                        <a:lnSpc>
                          <a:spcPts val="1565"/>
                        </a:lnSpc>
                        <a:buFont typeface="Arial MT"/>
                        <a:buChar char="•"/>
                        <a:tabLst>
                          <a:tab pos="224790" algn="l"/>
                        </a:tabLst>
                      </a:pPr>
                      <a:r>
                        <a:rPr sz="1400" dirty="0">
                          <a:latin typeface="Calibri"/>
                          <a:cs typeface="Calibri"/>
                        </a:rPr>
                        <a:t>Generative</a:t>
                      </a:r>
                      <a:r>
                        <a:rPr sz="1400" spc="-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Pre-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trained</a:t>
                      </a:r>
                      <a:r>
                        <a:rPr sz="1400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b="1" dirty="0">
                          <a:latin typeface="Calibri"/>
                          <a:cs typeface="Calibri"/>
                        </a:rPr>
                        <a:t>Transformer</a:t>
                      </a:r>
                      <a:r>
                        <a:rPr sz="1400" b="1" spc="-8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(GPT)</a:t>
                      </a:r>
                      <a:r>
                        <a:rPr sz="1400" spc="-5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to</a:t>
                      </a:r>
                      <a:r>
                        <a:rPr sz="1400" spc="-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generate</a:t>
                      </a:r>
                      <a:r>
                        <a:rPr sz="1400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20" dirty="0">
                          <a:latin typeface="Calibri"/>
                          <a:cs typeface="Calibri"/>
                        </a:rPr>
                        <a:t>text</a:t>
                      </a:r>
                      <a:endParaRPr lang="en-US" sz="1400" dirty="0">
                        <a:latin typeface="Calibri"/>
                        <a:cs typeface="Calibri"/>
                      </a:endParaRPr>
                    </a:p>
                    <a:p>
                      <a:pPr marL="226060">
                        <a:lnSpc>
                          <a:spcPct val="100000"/>
                        </a:lnSpc>
                        <a:spcBef>
                          <a:spcPts val="25"/>
                        </a:spcBef>
                        <a:tabLst>
                          <a:tab pos="3465829" algn="l"/>
                        </a:tabLst>
                      </a:pPr>
                      <a:r>
                        <a:rPr lang="en-US" sz="2100" baseline="1984" dirty="0">
                          <a:latin typeface="Calibri"/>
                          <a:cs typeface="Calibri"/>
                        </a:rPr>
                        <a:t>also</a:t>
                      </a:r>
                      <a:r>
                        <a:rPr lang="en-US" sz="2100" spc="-60" baseline="1984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en-US" sz="2100" baseline="1984" dirty="0">
                          <a:latin typeface="Calibri"/>
                          <a:cs typeface="Calibri"/>
                        </a:rPr>
                        <a:t>called</a:t>
                      </a:r>
                      <a:r>
                        <a:rPr lang="en-US" sz="2100" spc="-67" baseline="1984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en-US" sz="2100" baseline="1984" dirty="0">
                          <a:latin typeface="Calibri"/>
                          <a:cs typeface="Calibri"/>
                        </a:rPr>
                        <a:t>Large</a:t>
                      </a:r>
                      <a:r>
                        <a:rPr lang="en-US" sz="2100" spc="-75" baseline="1984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en-US" sz="2100" baseline="1984" dirty="0">
                          <a:latin typeface="Calibri"/>
                          <a:cs typeface="Calibri"/>
                        </a:rPr>
                        <a:t>Language</a:t>
                      </a:r>
                      <a:r>
                        <a:rPr lang="en-US" sz="2100" spc="-44" baseline="1984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en-US" sz="2100" baseline="1984" dirty="0">
                          <a:latin typeface="Calibri"/>
                          <a:cs typeface="Calibri"/>
                        </a:rPr>
                        <a:t>Model</a:t>
                      </a:r>
                      <a:r>
                        <a:rPr lang="en-US" sz="2100" spc="-52" baseline="1984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en-US" sz="2100" spc="-15" baseline="1984" dirty="0">
                          <a:latin typeface="Calibri"/>
                          <a:cs typeface="Calibri"/>
                        </a:rPr>
                        <a:t>(LLM).</a:t>
                      </a:r>
                      <a:r>
                        <a:rPr lang="en-US" sz="2100" baseline="1984" dirty="0">
                          <a:latin typeface="Calibri"/>
                          <a:cs typeface="Calibri"/>
                        </a:rPr>
                        <a:t>	</a:t>
                      </a:r>
                      <a:endParaRPr lang="en-US" sz="1200" dirty="0">
                        <a:latin typeface="Calibri"/>
                        <a:cs typeface="Calibri"/>
                      </a:endParaRPr>
                    </a:p>
                    <a:p>
                      <a:pPr marL="224790" indent="-179070">
                        <a:lnSpc>
                          <a:spcPct val="100000"/>
                        </a:lnSpc>
                        <a:spcBef>
                          <a:spcPts val="575"/>
                        </a:spcBef>
                        <a:buFont typeface="Arial MT"/>
                        <a:buChar char="•"/>
                        <a:tabLst>
                          <a:tab pos="224790" algn="l"/>
                        </a:tabLst>
                      </a:pPr>
                      <a:r>
                        <a:rPr lang="en-US" sz="1400" dirty="0">
                          <a:latin typeface="Calibri"/>
                          <a:cs typeface="Calibri"/>
                        </a:rPr>
                        <a:t>Generative</a:t>
                      </a:r>
                      <a:r>
                        <a:rPr lang="en-US" sz="1400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en-US" sz="1400" dirty="0">
                          <a:latin typeface="Calibri"/>
                          <a:cs typeface="Calibri"/>
                        </a:rPr>
                        <a:t>Adversarial</a:t>
                      </a:r>
                      <a:r>
                        <a:rPr lang="en-US" sz="1400" spc="-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en-US" sz="1400" dirty="0">
                          <a:latin typeface="Calibri"/>
                          <a:cs typeface="Calibri"/>
                        </a:rPr>
                        <a:t>Network</a:t>
                      </a:r>
                      <a:r>
                        <a:rPr lang="en-US" sz="1400" spc="-7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en-US" sz="1400" dirty="0">
                          <a:latin typeface="Calibri"/>
                          <a:cs typeface="Calibri"/>
                        </a:rPr>
                        <a:t>(GAN)</a:t>
                      </a:r>
                      <a:r>
                        <a:rPr lang="en-US" sz="1400" spc="-6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en-US" sz="1400" dirty="0">
                          <a:latin typeface="Calibri"/>
                          <a:cs typeface="Calibri"/>
                        </a:rPr>
                        <a:t>to</a:t>
                      </a:r>
                      <a:r>
                        <a:rPr lang="en-US" sz="1400" spc="-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en-US" sz="1400" dirty="0">
                          <a:latin typeface="Calibri"/>
                          <a:cs typeface="Calibri"/>
                        </a:rPr>
                        <a:t>generate</a:t>
                      </a:r>
                      <a:r>
                        <a:rPr lang="en-US" sz="1400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en-US" sz="1400" spc="-10" dirty="0">
                          <a:latin typeface="Calibri"/>
                          <a:cs typeface="Calibri"/>
                        </a:rPr>
                        <a:t>images</a:t>
                      </a:r>
                      <a:endParaRPr lang="en-US" sz="1350" baseline="24691" dirty="0">
                        <a:latin typeface="Calibri"/>
                        <a:cs typeface="Calibri"/>
                      </a:endParaRPr>
                    </a:p>
                    <a:p>
                      <a:pPr marL="224790" indent="-179070">
                        <a:lnSpc>
                          <a:spcPct val="100000"/>
                        </a:lnSpc>
                        <a:spcBef>
                          <a:spcPts val="600"/>
                        </a:spcBef>
                        <a:buFont typeface="Arial MT"/>
                        <a:buChar char="•"/>
                        <a:tabLst>
                          <a:tab pos="224790" algn="l"/>
                        </a:tabLst>
                      </a:pPr>
                      <a:r>
                        <a:rPr sz="1400" dirty="0">
                          <a:latin typeface="Calibri"/>
                          <a:cs typeface="Calibri"/>
                        </a:rPr>
                        <a:t>Diffusion</a:t>
                      </a:r>
                      <a:r>
                        <a:rPr sz="1400" spc="-6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model</a:t>
                      </a:r>
                      <a:r>
                        <a:rPr sz="1400" spc="-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to</a:t>
                      </a:r>
                      <a:r>
                        <a:rPr sz="1400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generate</a:t>
                      </a:r>
                      <a:r>
                        <a:rPr sz="14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images</a:t>
                      </a:r>
                      <a:endParaRPr sz="14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B w="9525">
                      <a:solidFill>
                        <a:srgbClr val="DADADA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9259"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765"/>
                        </a:spcBef>
                      </a:pPr>
                      <a:r>
                        <a:rPr sz="1400" b="1" dirty="0">
                          <a:latin typeface="Calibri"/>
                          <a:cs typeface="Calibri"/>
                        </a:rPr>
                        <a:t>Trained</a:t>
                      </a:r>
                      <a:r>
                        <a:rPr sz="1400" b="1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b="1" spc="-25" dirty="0">
                          <a:latin typeface="Calibri"/>
                          <a:cs typeface="Calibri"/>
                        </a:rPr>
                        <a:t>for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97155" marB="0">
                    <a:lnT w="9525">
                      <a:solidFill>
                        <a:srgbClr val="DADADA"/>
                      </a:solidFill>
                      <a:prstDash val="solid"/>
                    </a:lnT>
                    <a:lnB w="9525">
                      <a:solidFill>
                        <a:srgbClr val="DADADA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34315">
                        <a:lnSpc>
                          <a:spcPct val="100000"/>
                        </a:lnSpc>
                        <a:spcBef>
                          <a:spcPts val="765"/>
                        </a:spcBef>
                      </a:pPr>
                      <a:r>
                        <a:rPr sz="1400" spc="-10" dirty="0">
                          <a:latin typeface="Calibri"/>
                          <a:cs typeface="Calibri"/>
                        </a:rPr>
                        <a:t>Accuracy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97155" marB="0">
                    <a:lnT w="9525">
                      <a:solidFill>
                        <a:srgbClr val="DADADA"/>
                      </a:solidFill>
                      <a:prstDash val="solid"/>
                    </a:lnT>
                    <a:lnB w="9525">
                      <a:solidFill>
                        <a:srgbClr val="DADADA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45720">
                        <a:lnSpc>
                          <a:spcPct val="100000"/>
                        </a:lnSpc>
                        <a:spcBef>
                          <a:spcPts val="765"/>
                        </a:spcBef>
                      </a:pPr>
                      <a:r>
                        <a:rPr sz="1400" spc="-10" dirty="0">
                          <a:latin typeface="Calibri"/>
                          <a:cs typeface="Calibri"/>
                        </a:rPr>
                        <a:t>Credibility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97155" marB="0">
                    <a:lnT w="9525">
                      <a:solidFill>
                        <a:srgbClr val="DADADA"/>
                      </a:solidFill>
                      <a:prstDash val="solid"/>
                    </a:lnT>
                    <a:lnB w="9525">
                      <a:solidFill>
                        <a:srgbClr val="DADADA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90420"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765"/>
                        </a:spcBef>
                      </a:pPr>
                      <a:r>
                        <a:rPr sz="1400" b="1" dirty="0">
                          <a:latin typeface="Calibri"/>
                          <a:cs typeface="Calibri"/>
                        </a:rPr>
                        <a:t>Use</a:t>
                      </a:r>
                      <a:r>
                        <a:rPr sz="1400" b="1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b="1" spc="-10" dirty="0">
                          <a:latin typeface="Calibri"/>
                          <a:cs typeface="Calibri"/>
                        </a:rPr>
                        <a:t>cases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97155" marB="0">
                    <a:lnT w="9525">
                      <a:solidFill>
                        <a:srgbClr val="DADADA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413384" indent="-179070">
                        <a:lnSpc>
                          <a:spcPct val="100000"/>
                        </a:lnSpc>
                        <a:spcBef>
                          <a:spcPts val="765"/>
                        </a:spcBef>
                        <a:buFont typeface="Arial MT"/>
                        <a:buChar char="•"/>
                        <a:tabLst>
                          <a:tab pos="413384" algn="l"/>
                        </a:tabLst>
                      </a:pPr>
                      <a:r>
                        <a:rPr sz="1400" dirty="0">
                          <a:latin typeface="Calibri"/>
                          <a:cs typeface="Calibri"/>
                        </a:rPr>
                        <a:t>Large</a:t>
                      </a:r>
                      <a:r>
                        <a:rPr sz="1400" spc="-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data</a:t>
                      </a:r>
                      <a:r>
                        <a:rPr sz="14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set</a:t>
                      </a:r>
                      <a:r>
                        <a:rPr sz="1400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analysis</a:t>
                      </a:r>
                      <a:r>
                        <a:rPr sz="14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and</a:t>
                      </a:r>
                      <a:r>
                        <a:rPr sz="1400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data</a:t>
                      </a:r>
                      <a:r>
                        <a:rPr sz="14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quality</a:t>
                      </a:r>
                      <a:r>
                        <a:rPr sz="14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improvement</a:t>
                      </a:r>
                      <a:endParaRPr sz="1400" dirty="0">
                        <a:latin typeface="Calibri"/>
                        <a:cs typeface="Calibri"/>
                      </a:endParaRPr>
                    </a:p>
                    <a:p>
                      <a:pPr marL="413384" indent="-179070">
                        <a:lnSpc>
                          <a:spcPct val="100000"/>
                        </a:lnSpc>
                        <a:spcBef>
                          <a:spcPts val="600"/>
                        </a:spcBef>
                        <a:buFont typeface="Arial MT"/>
                        <a:buChar char="•"/>
                        <a:tabLst>
                          <a:tab pos="413384" algn="l"/>
                        </a:tabLst>
                      </a:pPr>
                      <a:r>
                        <a:rPr sz="1400" spc="-10" dirty="0">
                          <a:latin typeface="Calibri"/>
                          <a:cs typeface="Calibri"/>
                        </a:rPr>
                        <a:t>Forecasting</a:t>
                      </a:r>
                      <a:endParaRPr sz="1400" dirty="0">
                        <a:latin typeface="Calibri"/>
                        <a:cs typeface="Calibri"/>
                      </a:endParaRPr>
                    </a:p>
                    <a:p>
                      <a:pPr marL="412750" marR="302260" indent="-179070">
                        <a:lnSpc>
                          <a:spcPct val="100000"/>
                        </a:lnSpc>
                        <a:spcBef>
                          <a:spcPts val="600"/>
                        </a:spcBef>
                        <a:buFont typeface="Arial MT"/>
                        <a:buChar char="•"/>
                        <a:tabLst>
                          <a:tab pos="414020" algn="l"/>
                        </a:tabLst>
                      </a:pPr>
                      <a:r>
                        <a:rPr sz="1400" dirty="0">
                          <a:latin typeface="Calibri"/>
                          <a:cs typeface="Calibri"/>
                        </a:rPr>
                        <a:t>Pattern</a:t>
                      </a:r>
                      <a:r>
                        <a:rPr sz="14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recognition</a:t>
                      </a:r>
                      <a:r>
                        <a:rPr sz="1400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and</a:t>
                      </a:r>
                      <a:r>
                        <a:rPr sz="1400" spc="-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clustering</a:t>
                      </a:r>
                      <a:r>
                        <a:rPr sz="14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incl.</a:t>
                      </a:r>
                      <a:r>
                        <a:rPr sz="1400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identification</a:t>
                      </a:r>
                      <a:r>
                        <a:rPr sz="1400" spc="-25" dirty="0">
                          <a:latin typeface="Calibri"/>
                          <a:cs typeface="Calibri"/>
                        </a:rPr>
                        <a:t> of 	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outliers</a:t>
                      </a:r>
                      <a:endParaRPr sz="1400" dirty="0">
                        <a:latin typeface="Calibri"/>
                        <a:cs typeface="Calibri"/>
                      </a:endParaRPr>
                    </a:p>
                    <a:p>
                      <a:pPr marL="413384" indent="-179070">
                        <a:lnSpc>
                          <a:spcPct val="100000"/>
                        </a:lnSpc>
                        <a:spcBef>
                          <a:spcPts val="600"/>
                        </a:spcBef>
                        <a:buFont typeface="Arial MT"/>
                        <a:buChar char="•"/>
                        <a:tabLst>
                          <a:tab pos="413384" algn="l"/>
                        </a:tabLst>
                      </a:pPr>
                      <a:r>
                        <a:rPr sz="1400" spc="-10" dirty="0">
                          <a:latin typeface="Calibri"/>
                          <a:cs typeface="Calibri"/>
                        </a:rPr>
                        <a:t>Data-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driven</a:t>
                      </a:r>
                      <a:r>
                        <a:rPr sz="14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decisioning</a:t>
                      </a:r>
                      <a:endParaRPr sz="1400" dirty="0">
                        <a:latin typeface="Calibri"/>
                        <a:cs typeface="Calibri"/>
                      </a:endParaRPr>
                    </a:p>
                    <a:p>
                      <a:pPr marL="413384" indent="-179070">
                        <a:lnSpc>
                          <a:spcPct val="100000"/>
                        </a:lnSpc>
                        <a:spcBef>
                          <a:spcPts val="600"/>
                        </a:spcBef>
                        <a:buFont typeface="Arial MT"/>
                        <a:buChar char="•"/>
                        <a:tabLst>
                          <a:tab pos="413384" algn="l"/>
                        </a:tabLst>
                      </a:pPr>
                      <a:r>
                        <a:rPr sz="1400" dirty="0">
                          <a:latin typeface="Calibri"/>
                          <a:cs typeface="Calibri"/>
                        </a:rPr>
                        <a:t>Text</a:t>
                      </a:r>
                      <a:r>
                        <a:rPr sz="14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or</a:t>
                      </a:r>
                      <a:r>
                        <a:rPr sz="1400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voice</a:t>
                      </a:r>
                      <a:r>
                        <a:rPr sz="14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analysis</a:t>
                      </a:r>
                      <a:endParaRPr sz="1400" dirty="0">
                        <a:latin typeface="Calibri"/>
                        <a:cs typeface="Calibri"/>
                      </a:endParaRPr>
                    </a:p>
                    <a:p>
                      <a:pPr marL="413384" indent="-179070">
                        <a:lnSpc>
                          <a:spcPct val="100000"/>
                        </a:lnSpc>
                        <a:spcBef>
                          <a:spcPts val="600"/>
                        </a:spcBef>
                        <a:buFont typeface="Arial MT"/>
                        <a:buChar char="•"/>
                        <a:tabLst>
                          <a:tab pos="413384" algn="l"/>
                        </a:tabLst>
                      </a:pPr>
                      <a:r>
                        <a:rPr sz="1400" dirty="0">
                          <a:latin typeface="Calibri"/>
                          <a:cs typeface="Calibri"/>
                        </a:rPr>
                        <a:t>Customer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or</a:t>
                      </a:r>
                      <a:r>
                        <a:rPr sz="14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transaction</a:t>
                      </a:r>
                      <a:r>
                        <a:rPr sz="14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analytics</a:t>
                      </a:r>
                      <a:endParaRPr sz="1350" baseline="24691" dirty="0">
                        <a:latin typeface="Calibri"/>
                        <a:cs typeface="Calibri"/>
                      </a:endParaRPr>
                    </a:p>
                  </a:txBody>
                  <a:tcPr marL="0" marR="0" marT="97155" marB="0">
                    <a:lnT w="9525">
                      <a:solidFill>
                        <a:srgbClr val="DADADA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4790" indent="-179070">
                        <a:lnSpc>
                          <a:spcPct val="100000"/>
                        </a:lnSpc>
                        <a:spcBef>
                          <a:spcPts val="765"/>
                        </a:spcBef>
                        <a:buFont typeface="Arial MT"/>
                        <a:buChar char="•"/>
                        <a:tabLst>
                          <a:tab pos="224790" algn="l"/>
                        </a:tabLst>
                      </a:pPr>
                      <a:r>
                        <a:rPr sz="1400" dirty="0">
                          <a:latin typeface="Calibri"/>
                          <a:cs typeface="Calibri"/>
                        </a:rPr>
                        <a:t>Writing</a:t>
                      </a:r>
                      <a:r>
                        <a:rPr sz="14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first</a:t>
                      </a:r>
                      <a:r>
                        <a:rPr sz="1400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drafts</a:t>
                      </a:r>
                      <a:r>
                        <a:rPr sz="1400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of</a:t>
                      </a:r>
                      <a:r>
                        <a:rPr sz="1400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content</a:t>
                      </a:r>
                      <a:endParaRPr sz="1400" dirty="0">
                        <a:latin typeface="Calibri"/>
                        <a:cs typeface="Calibri"/>
                      </a:endParaRPr>
                    </a:p>
                    <a:p>
                      <a:pPr marL="224790" indent="-179070">
                        <a:lnSpc>
                          <a:spcPct val="100000"/>
                        </a:lnSpc>
                        <a:spcBef>
                          <a:spcPts val="600"/>
                        </a:spcBef>
                        <a:buFont typeface="Arial MT"/>
                        <a:buChar char="•"/>
                        <a:tabLst>
                          <a:tab pos="224790" algn="l"/>
                        </a:tabLst>
                      </a:pPr>
                      <a:r>
                        <a:rPr sz="1400" dirty="0">
                          <a:latin typeface="Calibri"/>
                          <a:cs typeface="Calibri"/>
                        </a:rPr>
                        <a:t>Creating</a:t>
                      </a:r>
                      <a:r>
                        <a:rPr sz="14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prompts</a:t>
                      </a:r>
                      <a:r>
                        <a:rPr sz="1400" spc="-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for</a:t>
                      </a:r>
                      <a:r>
                        <a:rPr sz="1400" spc="-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other</a:t>
                      </a:r>
                      <a:r>
                        <a:rPr sz="1400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Generative</a:t>
                      </a:r>
                      <a:r>
                        <a:rPr sz="14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AI</a:t>
                      </a:r>
                      <a:r>
                        <a:rPr sz="1400" spc="-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tools</a:t>
                      </a:r>
                      <a:r>
                        <a:rPr sz="1400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(e.g.,</a:t>
                      </a:r>
                      <a:endParaRPr sz="1400" dirty="0">
                        <a:latin typeface="Calibri"/>
                        <a:cs typeface="Calibri"/>
                      </a:endParaRPr>
                    </a:p>
                    <a:p>
                      <a:pPr marL="226060">
                        <a:lnSpc>
                          <a:spcPct val="100000"/>
                        </a:lnSpc>
                      </a:pPr>
                      <a:r>
                        <a:rPr sz="1400" dirty="0">
                          <a:latin typeface="Calibri"/>
                          <a:cs typeface="Calibri"/>
                        </a:rPr>
                        <a:t>Midjourney</a:t>
                      </a:r>
                      <a:r>
                        <a:rPr sz="1400" spc="-6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design</a:t>
                      </a:r>
                      <a:r>
                        <a:rPr sz="1400" spc="-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prompts)</a:t>
                      </a:r>
                      <a:endParaRPr sz="1400" dirty="0">
                        <a:latin typeface="Calibri"/>
                        <a:cs typeface="Calibri"/>
                      </a:endParaRPr>
                    </a:p>
                    <a:p>
                      <a:pPr marL="224790" marR="1266825" indent="-179070">
                        <a:lnSpc>
                          <a:spcPct val="100000"/>
                        </a:lnSpc>
                        <a:spcBef>
                          <a:spcPts val="600"/>
                        </a:spcBef>
                        <a:buFont typeface="Arial MT"/>
                        <a:buChar char="•"/>
                        <a:tabLst>
                          <a:tab pos="226060" algn="l"/>
                        </a:tabLst>
                      </a:pPr>
                      <a:r>
                        <a:rPr sz="1400" spc="-10" dirty="0">
                          <a:latin typeface="Calibri"/>
                          <a:cs typeface="Calibri"/>
                        </a:rPr>
                        <a:t>Generating</a:t>
                      </a:r>
                      <a:r>
                        <a:rPr sz="1400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code</a:t>
                      </a:r>
                      <a:r>
                        <a:rPr sz="1400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for</a:t>
                      </a:r>
                      <a:r>
                        <a:rPr sz="14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software</a:t>
                      </a:r>
                      <a:r>
                        <a:rPr sz="14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development</a:t>
                      </a:r>
                      <a:r>
                        <a:rPr sz="1400" spc="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25" dirty="0">
                          <a:latin typeface="Calibri"/>
                          <a:cs typeface="Calibri"/>
                        </a:rPr>
                        <a:t>and 	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software</a:t>
                      </a:r>
                      <a:r>
                        <a:rPr sz="1400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translation</a:t>
                      </a:r>
                      <a:endParaRPr sz="1400" dirty="0">
                        <a:latin typeface="Calibri"/>
                        <a:cs typeface="Calibri"/>
                      </a:endParaRPr>
                    </a:p>
                    <a:p>
                      <a:pPr marL="224790" indent="-179070">
                        <a:lnSpc>
                          <a:spcPct val="100000"/>
                        </a:lnSpc>
                        <a:spcBef>
                          <a:spcPts val="600"/>
                        </a:spcBef>
                        <a:buFont typeface="Arial MT"/>
                        <a:buChar char="•"/>
                        <a:tabLst>
                          <a:tab pos="224790" algn="l"/>
                        </a:tabLst>
                      </a:pPr>
                      <a:r>
                        <a:rPr sz="1400" dirty="0">
                          <a:latin typeface="Calibri"/>
                          <a:cs typeface="Calibri"/>
                        </a:rPr>
                        <a:t>Assisting</a:t>
                      </a:r>
                      <a:r>
                        <a:rPr sz="1400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in</a:t>
                      </a:r>
                      <a:r>
                        <a:rPr sz="1400" spc="-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creative</a:t>
                      </a:r>
                      <a:r>
                        <a:rPr sz="14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work</a:t>
                      </a:r>
                      <a:r>
                        <a:rPr sz="1400" spc="-6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through</a:t>
                      </a:r>
                      <a:r>
                        <a:rPr sz="1400" spc="-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idea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 exploration</a:t>
                      </a:r>
                      <a:endParaRPr sz="1400" dirty="0">
                        <a:latin typeface="Calibri"/>
                        <a:cs typeface="Calibri"/>
                      </a:endParaRPr>
                    </a:p>
                    <a:p>
                      <a:pPr marL="224790" indent="-179070">
                        <a:lnSpc>
                          <a:spcPct val="100000"/>
                        </a:lnSpc>
                        <a:spcBef>
                          <a:spcPts val="600"/>
                        </a:spcBef>
                        <a:buFont typeface="Arial MT"/>
                        <a:buChar char="•"/>
                        <a:tabLst>
                          <a:tab pos="224790" algn="l"/>
                        </a:tabLst>
                      </a:pPr>
                      <a:r>
                        <a:rPr sz="1400" spc="-10" dirty="0">
                          <a:latin typeface="Calibri"/>
                          <a:cs typeface="Calibri"/>
                        </a:rPr>
                        <a:t>Contextualising</a:t>
                      </a:r>
                      <a:r>
                        <a:rPr sz="1400" spc="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and</a:t>
                      </a:r>
                      <a:r>
                        <a:rPr sz="1400" spc="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personalising</a:t>
                      </a:r>
                      <a:r>
                        <a:rPr sz="1400" spc="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content</a:t>
                      </a:r>
                      <a:endParaRPr sz="1400" dirty="0">
                        <a:latin typeface="Calibri"/>
                        <a:cs typeface="Calibri"/>
                      </a:endParaRPr>
                    </a:p>
                  </a:txBody>
                  <a:tcPr marL="0" marR="0" marT="97155" marB="0">
                    <a:lnT w="9525">
                      <a:solidFill>
                        <a:srgbClr val="DADADA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9" name="object 29"/>
          <p:cNvSpPr txBox="1"/>
          <p:nvPr/>
        </p:nvSpPr>
        <p:spPr>
          <a:xfrm>
            <a:off x="12158853" y="6612204"/>
            <a:ext cx="45085" cy="63500"/>
          </a:xfrm>
          <a:prstGeom prst="rect">
            <a:avLst/>
          </a:prstGeom>
        </p:spPr>
        <p:txBody>
          <a:bodyPr vert="horz" wrap="square" lIns="0" tIns="31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sz="300" spc="-50" dirty="0">
                <a:latin typeface="Calibri"/>
                <a:cs typeface="Calibri"/>
              </a:rPr>
              <a:t>7</a:t>
            </a:r>
            <a:endParaRPr sz="3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444500" y="309118"/>
            <a:ext cx="7163668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800" cap="all" dirty="0">
                <a:solidFill>
                  <a:schemeClr val="tx2"/>
                </a:solidFill>
                <a:latin typeface="Verdana" panose="020B0604030504040204" pitchFamily="34" charset="0"/>
                <a:cs typeface="+mj-cs"/>
              </a:rPr>
              <a:t>KEY RISKS </a:t>
            </a:r>
            <a:r>
              <a:rPr lang="it-IT" sz="2800" cap="all" dirty="0">
                <a:solidFill>
                  <a:schemeClr val="tx2"/>
                </a:solidFill>
                <a:latin typeface="Verdana" panose="020B0604030504040204" pitchFamily="34" charset="0"/>
                <a:cs typeface="+mj-cs"/>
              </a:rPr>
              <a:t> della </a:t>
            </a:r>
            <a:r>
              <a:rPr sz="2800" cap="all" dirty="0">
                <a:solidFill>
                  <a:schemeClr val="tx2"/>
                </a:solidFill>
                <a:latin typeface="Verdana" panose="020B0604030504040204" pitchFamily="34" charset="0"/>
                <a:cs typeface="+mj-cs"/>
              </a:rPr>
              <a:t> GENAI (1/2)</a:t>
            </a:r>
          </a:p>
        </p:txBody>
      </p:sp>
      <p:graphicFrame>
        <p:nvGraphicFramePr>
          <p:cNvPr id="3" name="object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8448474"/>
              </p:ext>
            </p:extLst>
          </p:nvPr>
        </p:nvGraphicFramePr>
        <p:xfrm>
          <a:off x="450850" y="1384300"/>
          <a:ext cx="11330303" cy="476694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655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999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79361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82015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51371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2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002C77"/>
                      </a:solidFill>
                      <a:prstDash val="solid"/>
                    </a:lnL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575945">
                        <a:lnSpc>
                          <a:spcPct val="100000"/>
                        </a:lnSpc>
                        <a:spcBef>
                          <a:spcPts val="1095"/>
                        </a:spcBef>
                      </a:pPr>
                      <a:r>
                        <a:rPr sz="1400" b="1" spc="-2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Risks</a:t>
                      </a:r>
                      <a:endParaRPr sz="1400" dirty="0">
                        <a:latin typeface="Calibri"/>
                        <a:cs typeface="Calibri"/>
                      </a:endParaRPr>
                    </a:p>
                  </a:txBody>
                  <a:tcPr marL="0" marR="0" marT="139065" marB="0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144145">
                        <a:lnSpc>
                          <a:spcPct val="100000"/>
                        </a:lnSpc>
                        <a:spcBef>
                          <a:spcPts val="1095"/>
                        </a:spcBef>
                      </a:pPr>
                      <a:r>
                        <a:rPr sz="1400" b="1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Description</a:t>
                      </a:r>
                      <a:endParaRPr sz="1400" dirty="0">
                        <a:latin typeface="Calibri"/>
                        <a:cs typeface="Calibri"/>
                      </a:endParaRPr>
                    </a:p>
                  </a:txBody>
                  <a:tcPr marL="0" marR="0" marT="139065" marB="0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148590">
                        <a:lnSpc>
                          <a:spcPct val="100000"/>
                        </a:lnSpc>
                        <a:spcBef>
                          <a:spcPts val="1095"/>
                        </a:spcBef>
                      </a:pPr>
                      <a:r>
                        <a:rPr sz="1400" b="1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Examples</a:t>
                      </a:r>
                      <a:endParaRPr sz="1400" dirty="0">
                        <a:latin typeface="Calibri"/>
                        <a:cs typeface="Calibri"/>
                      </a:endParaRPr>
                    </a:p>
                  </a:txBody>
                  <a:tcPr marL="0" marR="0" marT="139065" marB="0">
                    <a:lnR w="12700">
                      <a:solidFill>
                        <a:srgbClr val="002C77"/>
                      </a:solidFill>
                      <a:prstDash val="solid"/>
                    </a:ln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1282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002C77"/>
                      </a:solidFill>
                      <a:prstDash val="solid"/>
                    </a:lnL>
                    <a:lnB w="12700">
                      <a:solidFill>
                        <a:srgbClr val="002C77"/>
                      </a:solidFill>
                      <a:prstDash val="solid"/>
                    </a:lnB>
                    <a:solidFill>
                      <a:srgbClr val="77A98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85"/>
                        </a:spcBef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  <a:p>
                      <a:pPr marL="575945">
                        <a:lnSpc>
                          <a:spcPct val="100000"/>
                        </a:lnSpc>
                      </a:pPr>
                      <a:r>
                        <a:rPr sz="1400" b="1" spc="-10" dirty="0">
                          <a:latin typeface="Calibri"/>
                          <a:cs typeface="Calibri"/>
                        </a:rPr>
                        <a:t>Misinformation</a:t>
                      </a:r>
                      <a:r>
                        <a:rPr sz="1400" b="1" spc="5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b="1" spc="-25" dirty="0">
                          <a:latin typeface="Calibri"/>
                          <a:cs typeface="Calibri"/>
                        </a:rPr>
                        <a:t>and</a:t>
                      </a:r>
                      <a:endParaRPr sz="1400">
                        <a:latin typeface="Calibri"/>
                        <a:cs typeface="Calibri"/>
                      </a:endParaRPr>
                    </a:p>
                    <a:p>
                      <a:pPr marL="575945">
                        <a:lnSpc>
                          <a:spcPct val="100000"/>
                        </a:lnSpc>
                      </a:pPr>
                      <a:r>
                        <a:rPr sz="1400" b="1" spc="-10" dirty="0">
                          <a:latin typeface="Calibri"/>
                          <a:cs typeface="Calibri"/>
                        </a:rPr>
                        <a:t>misuse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74295" marB="0">
                    <a:lnB w="12700">
                      <a:solidFill>
                        <a:srgbClr val="002C77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144145">
                        <a:lnSpc>
                          <a:spcPct val="100000"/>
                        </a:lnSpc>
                        <a:spcBef>
                          <a:spcPts val="1015"/>
                        </a:spcBef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GenAI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models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may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generate</a:t>
                      </a:r>
                      <a:r>
                        <a:rPr sz="1200" spc="-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false or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misleading</a:t>
                      </a:r>
                      <a:r>
                        <a:rPr sz="1200" spc="-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outputs</a:t>
                      </a:r>
                      <a:r>
                        <a:rPr sz="1200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framed</a:t>
                      </a:r>
                      <a:r>
                        <a:rPr sz="1200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in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0" dirty="0">
                          <a:latin typeface="Calibri"/>
                          <a:cs typeface="Calibri"/>
                        </a:rPr>
                        <a:t>a</a:t>
                      </a:r>
                      <a:endParaRPr sz="1200">
                        <a:latin typeface="Calibri"/>
                        <a:cs typeface="Calibri"/>
                      </a:endParaRPr>
                    </a:p>
                    <a:p>
                      <a:pPr marL="144145">
                        <a:lnSpc>
                          <a:spcPct val="100000"/>
                        </a:lnSpc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high</a:t>
                      </a:r>
                      <a:r>
                        <a:rPr sz="1200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confidence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way.</a:t>
                      </a:r>
                      <a:endParaRPr sz="1200">
                        <a:latin typeface="Calibri"/>
                        <a:cs typeface="Calibri"/>
                      </a:endParaRPr>
                    </a:p>
                    <a:p>
                      <a:pPr marL="144145" marR="743585">
                        <a:lnSpc>
                          <a:spcPct val="100000"/>
                        </a:lnSpc>
                      </a:pPr>
                      <a:r>
                        <a:rPr sz="1200" spc="-10" dirty="0">
                          <a:latin typeface="Calibri"/>
                          <a:cs typeface="Calibri"/>
                        </a:rPr>
                        <a:t>Misinformation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or</a:t>
                      </a:r>
                      <a:r>
                        <a:rPr sz="1200" spc="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hallucinations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can</a:t>
                      </a:r>
                      <a:r>
                        <a:rPr sz="1200" spc="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occur</a:t>
                      </a:r>
                      <a:r>
                        <a:rPr sz="1200" spc="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due to</a:t>
                      </a:r>
                      <a:r>
                        <a:rPr sz="1200" spc="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the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inherent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complexity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of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the</a:t>
                      </a:r>
                      <a:r>
                        <a:rPr sz="1200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model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and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the</a:t>
                      </a:r>
                      <a:r>
                        <a:rPr sz="1200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data</a:t>
                      </a:r>
                      <a:r>
                        <a:rPr sz="12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it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has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been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trained</a:t>
                      </a:r>
                      <a:r>
                        <a:rPr sz="1200" spc="-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on.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28905" marB="0">
                    <a:lnB w="12700">
                      <a:solidFill>
                        <a:srgbClr val="002C7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20675" marR="337820" indent="-172720" algn="just">
                        <a:lnSpc>
                          <a:spcPct val="100000"/>
                        </a:lnSpc>
                        <a:spcBef>
                          <a:spcPts val="1015"/>
                        </a:spcBef>
                        <a:buFont typeface="Arial MT"/>
                        <a:buChar char="•"/>
                        <a:tabLst>
                          <a:tab pos="320675" algn="l"/>
                        </a:tabLst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The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model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produces</a:t>
                      </a:r>
                      <a:r>
                        <a:rPr sz="1200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a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false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response</a:t>
                      </a:r>
                      <a:r>
                        <a:rPr sz="1200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which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is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then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used</a:t>
                      </a:r>
                      <a:r>
                        <a:rPr sz="1200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in</a:t>
                      </a:r>
                      <a:r>
                        <a:rPr sz="12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downstream</a:t>
                      </a:r>
                      <a:r>
                        <a:rPr sz="1200" spc="-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business</a:t>
                      </a:r>
                      <a:r>
                        <a:rPr sz="1200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processes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leading</a:t>
                      </a:r>
                      <a:r>
                        <a:rPr sz="1200" spc="-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to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operational</a:t>
                      </a:r>
                      <a:r>
                        <a:rPr sz="1200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risk.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28905" marB="0">
                    <a:lnR w="12700">
                      <a:solidFill>
                        <a:srgbClr val="002C77"/>
                      </a:solidFill>
                      <a:prstDash val="solid"/>
                    </a:lnR>
                    <a:lnB w="12700">
                      <a:solidFill>
                        <a:srgbClr val="002C77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36294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002C77"/>
                      </a:solidFill>
                      <a:prstDash val="solid"/>
                    </a:lnL>
                    <a:lnT w="12700">
                      <a:solidFill>
                        <a:srgbClr val="002C77"/>
                      </a:solidFill>
                      <a:prstDash val="solid"/>
                    </a:lnT>
                    <a:lnB w="12700">
                      <a:solidFill>
                        <a:srgbClr val="002C77"/>
                      </a:solidFill>
                      <a:prstDash val="solid"/>
                    </a:lnB>
                    <a:solidFill>
                      <a:srgbClr val="18B9B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755"/>
                        </a:spcBef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  <a:p>
                      <a:pPr marL="575945">
                        <a:lnSpc>
                          <a:spcPct val="100000"/>
                        </a:lnSpc>
                      </a:pPr>
                      <a:r>
                        <a:rPr sz="1400" b="1" dirty="0">
                          <a:latin typeface="Calibri"/>
                          <a:cs typeface="Calibri"/>
                        </a:rPr>
                        <a:t>Bias</a:t>
                      </a:r>
                      <a:r>
                        <a:rPr sz="1400" b="1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b="1" dirty="0">
                          <a:latin typeface="Calibri"/>
                          <a:cs typeface="Calibri"/>
                        </a:rPr>
                        <a:t>and</a:t>
                      </a:r>
                      <a:r>
                        <a:rPr sz="1400" b="1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b="1" spc="-10" dirty="0">
                          <a:latin typeface="Calibri"/>
                          <a:cs typeface="Calibri"/>
                        </a:rPr>
                        <a:t>fairness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95885" marB="0">
                    <a:lnT w="12700">
                      <a:solidFill>
                        <a:srgbClr val="002C77"/>
                      </a:solidFill>
                      <a:prstDash val="solid"/>
                    </a:lnT>
                    <a:lnB w="12700">
                      <a:solidFill>
                        <a:srgbClr val="002C77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144145" marR="140970" algn="just">
                        <a:lnSpc>
                          <a:spcPct val="100000"/>
                        </a:lnSpc>
                        <a:spcBef>
                          <a:spcPts val="1065"/>
                        </a:spcBef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GenAI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often</a:t>
                      </a:r>
                      <a:r>
                        <a:rPr sz="1200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relies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heavily</a:t>
                      </a:r>
                      <a:r>
                        <a:rPr sz="1200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on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vast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amounts</a:t>
                      </a:r>
                      <a:r>
                        <a:rPr sz="12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of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text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data</a:t>
                      </a:r>
                      <a:r>
                        <a:rPr sz="1200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scraped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from</a:t>
                      </a:r>
                      <a:r>
                        <a:rPr sz="12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the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internet</a:t>
                      </a:r>
                      <a:r>
                        <a:rPr sz="1200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or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company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documents,</a:t>
                      </a:r>
                      <a:r>
                        <a:rPr sz="12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which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can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inadvertently</a:t>
                      </a:r>
                      <a:r>
                        <a:rPr sz="1200" spc="-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encode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biases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present</a:t>
                      </a:r>
                      <a:r>
                        <a:rPr sz="1200" spc="-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in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the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data.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35255" marB="0">
                    <a:lnT w="12700">
                      <a:solidFill>
                        <a:srgbClr val="002C77"/>
                      </a:solidFill>
                      <a:prstDash val="solid"/>
                    </a:lnT>
                    <a:lnB w="12700">
                      <a:solidFill>
                        <a:srgbClr val="002C7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20675" marR="269240" indent="-172720">
                        <a:lnSpc>
                          <a:spcPct val="100000"/>
                        </a:lnSpc>
                        <a:spcBef>
                          <a:spcPts val="1065"/>
                        </a:spcBef>
                        <a:buFont typeface="Arial MT"/>
                        <a:buChar char="•"/>
                        <a:tabLst>
                          <a:tab pos="320675" algn="l"/>
                        </a:tabLst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The</a:t>
                      </a:r>
                      <a:r>
                        <a:rPr sz="12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language</a:t>
                      </a:r>
                      <a:r>
                        <a:rPr sz="12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and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tone</a:t>
                      </a:r>
                      <a:r>
                        <a:rPr sz="12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used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in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the</a:t>
                      </a:r>
                      <a:r>
                        <a:rPr sz="12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response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may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be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more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assertive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depending</a:t>
                      </a:r>
                      <a:r>
                        <a:rPr sz="1200" spc="-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on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the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context.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35255" marB="0">
                    <a:lnR w="12700">
                      <a:solidFill>
                        <a:srgbClr val="002C77"/>
                      </a:solidFill>
                      <a:prstDash val="solid"/>
                    </a:lnR>
                    <a:lnT w="12700">
                      <a:solidFill>
                        <a:srgbClr val="002C77"/>
                      </a:solidFill>
                      <a:prstDash val="solid"/>
                    </a:lnT>
                    <a:lnB w="12700">
                      <a:solidFill>
                        <a:srgbClr val="002C77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1917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002C77"/>
                      </a:solidFill>
                      <a:prstDash val="solid"/>
                    </a:lnL>
                    <a:lnT w="12700">
                      <a:solidFill>
                        <a:srgbClr val="002C77"/>
                      </a:solidFill>
                      <a:prstDash val="solid"/>
                    </a:lnT>
                    <a:lnB w="12700">
                      <a:solidFill>
                        <a:srgbClr val="002C77"/>
                      </a:solidFill>
                      <a:prstDash val="solid"/>
                    </a:lnB>
                    <a:solidFill>
                      <a:srgbClr val="A6E9AB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1480"/>
                        </a:spcBef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  <a:p>
                      <a:pPr marL="575945">
                        <a:lnSpc>
                          <a:spcPct val="100000"/>
                        </a:lnSpc>
                      </a:pPr>
                      <a:r>
                        <a:rPr sz="1400" b="1" dirty="0">
                          <a:latin typeface="Calibri"/>
                          <a:cs typeface="Calibri"/>
                        </a:rPr>
                        <a:t>Input</a:t>
                      </a:r>
                      <a:r>
                        <a:rPr sz="1400" b="1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b="1" spc="-10" dirty="0">
                          <a:latin typeface="Calibri"/>
                          <a:cs typeface="Calibri"/>
                        </a:rPr>
                        <a:t>sensitivity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187960" marB="0">
                    <a:lnT w="12700">
                      <a:solidFill>
                        <a:srgbClr val="002C77"/>
                      </a:solidFill>
                      <a:prstDash val="solid"/>
                    </a:lnT>
                    <a:lnB w="12700">
                      <a:solidFill>
                        <a:srgbClr val="002C77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144145" marR="156210">
                        <a:lnSpc>
                          <a:spcPct val="100000"/>
                        </a:lnSpc>
                        <a:spcBef>
                          <a:spcPts val="1065"/>
                        </a:spcBef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GenAI</a:t>
                      </a:r>
                      <a:r>
                        <a:rPr sz="1200" spc="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output</a:t>
                      </a:r>
                      <a:r>
                        <a:rPr sz="1200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is</a:t>
                      </a:r>
                      <a:r>
                        <a:rPr sz="1200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typically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 unpredictable</a:t>
                      </a:r>
                      <a:r>
                        <a:rPr sz="12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and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highly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sensitive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to the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input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prompt.</a:t>
                      </a:r>
                      <a:r>
                        <a:rPr sz="1200" spc="-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This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sensitivity</a:t>
                      </a:r>
                      <a:r>
                        <a:rPr sz="1200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can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make it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difficult</a:t>
                      </a:r>
                      <a:r>
                        <a:rPr sz="1200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to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control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or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predict</a:t>
                      </a:r>
                      <a:r>
                        <a:rPr sz="12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the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behaviour</a:t>
                      </a:r>
                      <a:r>
                        <a:rPr sz="1200" spc="-6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of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the</a:t>
                      </a:r>
                      <a:r>
                        <a:rPr sz="1200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model,</a:t>
                      </a:r>
                      <a:r>
                        <a:rPr sz="12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especially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in</a:t>
                      </a:r>
                      <a:r>
                        <a:rPr sz="12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applications</a:t>
                      </a:r>
                      <a:r>
                        <a:rPr sz="1200" spc="-5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where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precise</a:t>
                      </a:r>
                      <a:r>
                        <a:rPr sz="1200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outputs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are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required.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35255" marB="0">
                    <a:lnT w="12700">
                      <a:solidFill>
                        <a:srgbClr val="002C77"/>
                      </a:solidFill>
                      <a:prstDash val="solid"/>
                    </a:lnT>
                    <a:lnB w="12700">
                      <a:solidFill>
                        <a:srgbClr val="002C7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21310" indent="-172720">
                        <a:lnSpc>
                          <a:spcPct val="100000"/>
                        </a:lnSpc>
                        <a:spcBef>
                          <a:spcPts val="1065"/>
                        </a:spcBef>
                        <a:buFont typeface="Arial MT"/>
                        <a:buChar char="•"/>
                        <a:tabLst>
                          <a:tab pos="321310" algn="l"/>
                        </a:tabLst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Changes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in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the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wording</a:t>
                      </a:r>
                      <a:r>
                        <a:rPr sz="12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of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a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prompt</a:t>
                      </a:r>
                      <a:r>
                        <a:rPr sz="1200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leads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to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0" dirty="0">
                          <a:latin typeface="Calibri"/>
                          <a:cs typeface="Calibri"/>
                        </a:rPr>
                        <a:t>a</a:t>
                      </a:r>
                      <a:endParaRPr sz="1200">
                        <a:latin typeface="Calibri"/>
                        <a:cs typeface="Calibri"/>
                      </a:endParaRPr>
                    </a:p>
                    <a:p>
                      <a:pPr marL="320675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different</a:t>
                      </a:r>
                      <a:r>
                        <a:rPr sz="1200" spc="-5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outcome.</a:t>
                      </a:r>
                      <a:endParaRPr sz="1200">
                        <a:latin typeface="Calibri"/>
                        <a:cs typeface="Calibri"/>
                      </a:endParaRPr>
                    </a:p>
                    <a:p>
                      <a:pPr marL="320675" marR="280035" indent="-172720">
                        <a:lnSpc>
                          <a:spcPct val="100000"/>
                        </a:lnSpc>
                        <a:buFont typeface="Arial MT"/>
                        <a:buChar char="•"/>
                        <a:tabLst>
                          <a:tab pos="320675" algn="l"/>
                        </a:tabLst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Repeating</a:t>
                      </a:r>
                      <a:r>
                        <a:rPr sz="1200" spc="-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the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same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question</a:t>
                      </a:r>
                      <a:r>
                        <a:rPr sz="1200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can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lead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to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a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different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result</a:t>
                      </a:r>
                      <a:r>
                        <a:rPr sz="12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depending</a:t>
                      </a:r>
                      <a:r>
                        <a:rPr sz="1200" spc="-5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on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the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conversation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history.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35255" marB="0">
                    <a:lnR w="12700">
                      <a:solidFill>
                        <a:srgbClr val="002C77"/>
                      </a:solidFill>
                      <a:prstDash val="solid"/>
                    </a:lnR>
                    <a:lnT w="12700">
                      <a:solidFill>
                        <a:srgbClr val="002C77"/>
                      </a:solidFill>
                      <a:prstDash val="solid"/>
                    </a:lnT>
                    <a:lnB w="12700">
                      <a:solidFill>
                        <a:srgbClr val="002C77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38493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002C77"/>
                      </a:solidFill>
                      <a:prstDash val="solid"/>
                    </a:lnL>
                    <a:lnT w="12700">
                      <a:solidFill>
                        <a:srgbClr val="002C77"/>
                      </a:solidFill>
                      <a:prstDash val="solid"/>
                    </a:lnT>
                    <a:lnB w="12700">
                      <a:solidFill>
                        <a:srgbClr val="002C77"/>
                      </a:solidFill>
                      <a:prstDash val="solid"/>
                    </a:lnB>
                    <a:solidFill>
                      <a:srgbClr val="E0ED9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470"/>
                        </a:spcBef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  <a:p>
                      <a:pPr marL="575945" marR="202565">
                        <a:lnSpc>
                          <a:spcPct val="100000"/>
                        </a:lnSpc>
                      </a:pPr>
                      <a:r>
                        <a:rPr sz="1400" b="1" spc="-10" dirty="0">
                          <a:latin typeface="Calibri"/>
                          <a:cs typeface="Calibri"/>
                        </a:rPr>
                        <a:t>Knowledge</a:t>
                      </a:r>
                      <a:r>
                        <a:rPr sz="1400" b="1" spc="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b="1" spc="-10" dirty="0">
                          <a:latin typeface="Calibri"/>
                          <a:cs typeface="Calibri"/>
                        </a:rPr>
                        <a:t>grounding </a:t>
                      </a:r>
                      <a:r>
                        <a:rPr sz="1400" b="1" dirty="0">
                          <a:latin typeface="Calibri"/>
                          <a:cs typeface="Calibri"/>
                        </a:rPr>
                        <a:t>and</a:t>
                      </a:r>
                      <a:r>
                        <a:rPr sz="1400" b="1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b="1" spc="-10" dirty="0">
                          <a:latin typeface="Calibri"/>
                          <a:cs typeface="Calibri"/>
                        </a:rPr>
                        <a:t>recall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T w="12700">
                      <a:solidFill>
                        <a:srgbClr val="002C77"/>
                      </a:solidFill>
                      <a:prstDash val="solid"/>
                    </a:lnT>
                    <a:lnB w="12700">
                      <a:solidFill>
                        <a:srgbClr val="002C77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144145" marR="320675">
                        <a:lnSpc>
                          <a:spcPct val="100000"/>
                        </a:lnSpc>
                        <a:spcBef>
                          <a:spcPts val="1070"/>
                        </a:spcBef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Base</a:t>
                      </a:r>
                      <a:r>
                        <a:rPr sz="1200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LLMs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(e.g.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GPT-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3.5)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have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extensive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implicit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knowledge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about</a:t>
                      </a:r>
                      <a:r>
                        <a:rPr sz="1200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the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world,</a:t>
                      </a:r>
                      <a:r>
                        <a:rPr sz="12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but</a:t>
                      </a:r>
                      <a:r>
                        <a:rPr sz="12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don’t</a:t>
                      </a:r>
                      <a:r>
                        <a:rPr sz="1200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know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what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they</a:t>
                      </a:r>
                      <a:r>
                        <a:rPr sz="1200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know.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The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models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hence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lack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any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sense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of truth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and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a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grounded</a:t>
                      </a:r>
                      <a:r>
                        <a:rPr sz="1200" spc="-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knowledge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base.</a:t>
                      </a:r>
                      <a:endParaRPr sz="1200">
                        <a:latin typeface="Calibri"/>
                        <a:cs typeface="Calibri"/>
                      </a:endParaRPr>
                    </a:p>
                    <a:p>
                      <a:pPr marL="144145" marR="172720">
                        <a:lnSpc>
                          <a:spcPct val="100000"/>
                        </a:lnSpc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Furthermore</a:t>
                      </a:r>
                      <a:r>
                        <a:rPr sz="1200" spc="-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they</a:t>
                      </a:r>
                      <a:r>
                        <a:rPr sz="1200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often</a:t>
                      </a:r>
                      <a:r>
                        <a:rPr sz="1200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miss</a:t>
                      </a:r>
                      <a:r>
                        <a:rPr sz="1200" spc="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up-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to-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date</a:t>
                      </a:r>
                      <a:r>
                        <a:rPr sz="1200" spc="-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domain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knowledge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of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sufficient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high</a:t>
                      </a:r>
                      <a:r>
                        <a:rPr sz="12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quality</a:t>
                      </a:r>
                      <a:r>
                        <a:rPr sz="1200" spc="-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relevant</a:t>
                      </a:r>
                      <a:r>
                        <a:rPr sz="1200" spc="-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to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the</a:t>
                      </a:r>
                      <a:r>
                        <a:rPr sz="1200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business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use.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The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model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might</a:t>
                      </a:r>
                      <a:r>
                        <a:rPr sz="12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not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use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the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relevant</a:t>
                      </a:r>
                      <a:r>
                        <a:rPr sz="1200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knowledge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for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responding</a:t>
                      </a:r>
                      <a:r>
                        <a:rPr sz="1200" spc="-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to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a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user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prompt.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35890" marB="0">
                    <a:lnT w="12700">
                      <a:solidFill>
                        <a:srgbClr val="002C77"/>
                      </a:solidFill>
                      <a:prstDash val="solid"/>
                    </a:lnT>
                    <a:lnB w="12700">
                      <a:solidFill>
                        <a:srgbClr val="002C7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20675" marR="218440" indent="-172720" algn="just">
                        <a:lnSpc>
                          <a:spcPct val="100000"/>
                        </a:lnSpc>
                        <a:spcBef>
                          <a:spcPts val="1070"/>
                        </a:spcBef>
                        <a:buFont typeface="Arial MT"/>
                        <a:buChar char="•"/>
                        <a:tabLst>
                          <a:tab pos="320675" algn="l"/>
                        </a:tabLst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When</a:t>
                      </a:r>
                      <a:r>
                        <a:rPr sz="12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asking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base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LLMs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questions</a:t>
                      </a:r>
                      <a:r>
                        <a:rPr sz="1200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about</a:t>
                      </a:r>
                      <a:r>
                        <a:rPr sz="12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regulations,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it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likely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cannot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provide</a:t>
                      </a:r>
                      <a:r>
                        <a:rPr sz="1200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the</a:t>
                      </a:r>
                      <a:r>
                        <a:rPr sz="1200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reference</a:t>
                      </a:r>
                      <a:r>
                        <a:rPr sz="12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where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it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found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the</a:t>
                      </a:r>
                      <a:r>
                        <a:rPr sz="12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answer.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  <a:p>
                      <a:pPr marL="320675" marR="189230" indent="-172720">
                        <a:lnSpc>
                          <a:spcPct val="100000"/>
                        </a:lnSpc>
                        <a:buFont typeface="Arial MT"/>
                        <a:buChar char="•"/>
                        <a:tabLst>
                          <a:tab pos="320675" algn="l"/>
                        </a:tabLst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When</a:t>
                      </a:r>
                      <a:r>
                        <a:rPr sz="1200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asking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questions</a:t>
                      </a:r>
                      <a:r>
                        <a:rPr sz="1200" spc="-5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about</a:t>
                      </a:r>
                      <a:r>
                        <a:rPr sz="1200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specific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historic</a:t>
                      </a:r>
                      <a:r>
                        <a:rPr sz="1200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events,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the</a:t>
                      </a:r>
                      <a:r>
                        <a:rPr sz="1200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model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may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produce</a:t>
                      </a:r>
                      <a:r>
                        <a:rPr sz="1200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a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response</a:t>
                      </a:r>
                      <a:r>
                        <a:rPr sz="1200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that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lacks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accuracy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and</a:t>
                      </a:r>
                      <a:r>
                        <a:rPr sz="12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coherence.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135890" marB="0">
                    <a:lnR w="12700">
                      <a:solidFill>
                        <a:srgbClr val="002C77"/>
                      </a:solidFill>
                      <a:prstDash val="solid"/>
                    </a:lnR>
                    <a:lnT w="12700">
                      <a:solidFill>
                        <a:srgbClr val="002C77"/>
                      </a:solidFill>
                      <a:prstDash val="solid"/>
                    </a:lnT>
                    <a:lnB w="12700">
                      <a:solidFill>
                        <a:srgbClr val="002C77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4" name="object 4"/>
          <p:cNvSpPr/>
          <p:nvPr/>
        </p:nvSpPr>
        <p:spPr>
          <a:xfrm>
            <a:off x="837402" y="2258948"/>
            <a:ext cx="307975" cy="307975"/>
          </a:xfrm>
          <a:custGeom>
            <a:avLst/>
            <a:gdLst/>
            <a:ahLst/>
            <a:cxnLst/>
            <a:rect l="l" t="t" r="r" b="b"/>
            <a:pathLst>
              <a:path w="307975" h="307975">
                <a:moveTo>
                  <a:pt x="217334" y="0"/>
                </a:moveTo>
                <a:lnTo>
                  <a:pt x="90028" y="0"/>
                </a:lnTo>
                <a:lnTo>
                  <a:pt x="0" y="90025"/>
                </a:lnTo>
                <a:lnTo>
                  <a:pt x="0" y="217331"/>
                </a:lnTo>
                <a:lnTo>
                  <a:pt x="90028" y="307361"/>
                </a:lnTo>
                <a:lnTo>
                  <a:pt x="217334" y="307361"/>
                </a:lnTo>
                <a:lnTo>
                  <a:pt x="307360" y="217332"/>
                </a:lnTo>
                <a:lnTo>
                  <a:pt x="307360" y="90026"/>
                </a:lnTo>
                <a:lnTo>
                  <a:pt x="217334" y="0"/>
                </a:lnTo>
                <a:close/>
              </a:path>
              <a:path w="307975" h="307975">
                <a:moveTo>
                  <a:pt x="153678" y="65863"/>
                </a:moveTo>
                <a:lnTo>
                  <a:pt x="153678" y="182954"/>
                </a:lnTo>
              </a:path>
              <a:path w="307975" h="307975">
                <a:moveTo>
                  <a:pt x="160997" y="234181"/>
                </a:moveTo>
                <a:lnTo>
                  <a:pt x="160997" y="238219"/>
                </a:lnTo>
                <a:lnTo>
                  <a:pt x="157722" y="241500"/>
                </a:lnTo>
                <a:lnTo>
                  <a:pt x="153678" y="241500"/>
                </a:lnTo>
                <a:lnTo>
                  <a:pt x="149641" y="241500"/>
                </a:lnTo>
                <a:lnTo>
                  <a:pt x="146360" y="238219"/>
                </a:lnTo>
                <a:lnTo>
                  <a:pt x="146360" y="234181"/>
                </a:lnTo>
                <a:lnTo>
                  <a:pt x="146360" y="230138"/>
                </a:lnTo>
                <a:lnTo>
                  <a:pt x="149641" y="226863"/>
                </a:lnTo>
                <a:lnTo>
                  <a:pt x="153678" y="226863"/>
                </a:lnTo>
                <a:lnTo>
                  <a:pt x="157722" y="226863"/>
                </a:lnTo>
                <a:lnTo>
                  <a:pt x="160997" y="230138"/>
                </a:lnTo>
                <a:lnTo>
                  <a:pt x="160997" y="234181"/>
                </a:lnTo>
                <a:close/>
              </a:path>
            </a:pathLst>
          </a:custGeom>
          <a:ln w="9494">
            <a:solidFill>
              <a:srgbClr val="002C77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5" name="object 5"/>
          <p:cNvGrpSpPr/>
          <p:nvPr/>
        </p:nvGrpSpPr>
        <p:grpSpPr>
          <a:xfrm>
            <a:off x="825337" y="5310980"/>
            <a:ext cx="324485" cy="311785"/>
            <a:chOff x="825337" y="5310980"/>
            <a:chExt cx="324485" cy="311785"/>
          </a:xfrm>
        </p:grpSpPr>
        <p:sp>
          <p:nvSpPr>
            <p:cNvPr id="6" name="object 6"/>
            <p:cNvSpPr/>
            <p:nvPr/>
          </p:nvSpPr>
          <p:spPr>
            <a:xfrm>
              <a:off x="830084" y="5324805"/>
              <a:ext cx="303530" cy="292735"/>
            </a:xfrm>
            <a:custGeom>
              <a:avLst/>
              <a:gdLst/>
              <a:ahLst/>
              <a:cxnLst/>
              <a:rect l="l" t="t" r="r" b="b"/>
              <a:pathLst>
                <a:path w="303530" h="292735">
                  <a:moveTo>
                    <a:pt x="0" y="204911"/>
                  </a:moveTo>
                  <a:lnTo>
                    <a:pt x="87815" y="204911"/>
                  </a:lnTo>
                </a:path>
                <a:path w="303530" h="292735">
                  <a:moveTo>
                    <a:pt x="87815" y="204911"/>
                  </a:moveTo>
                  <a:lnTo>
                    <a:pt x="175633" y="204911"/>
                  </a:lnTo>
                </a:path>
                <a:path w="303530" h="292735">
                  <a:moveTo>
                    <a:pt x="215950" y="205692"/>
                  </a:moveTo>
                  <a:lnTo>
                    <a:pt x="302988" y="193995"/>
                  </a:lnTo>
                </a:path>
                <a:path w="303530" h="292735">
                  <a:moveTo>
                    <a:pt x="0" y="292727"/>
                  </a:moveTo>
                  <a:lnTo>
                    <a:pt x="87818" y="292727"/>
                  </a:lnTo>
                  <a:lnTo>
                    <a:pt x="87818" y="0"/>
                  </a:lnTo>
                  <a:lnTo>
                    <a:pt x="0" y="0"/>
                  </a:lnTo>
                  <a:lnTo>
                    <a:pt x="0" y="292727"/>
                  </a:lnTo>
                  <a:close/>
                </a:path>
                <a:path w="303530" h="292735">
                  <a:moveTo>
                    <a:pt x="43906" y="43911"/>
                  </a:moveTo>
                  <a:lnTo>
                    <a:pt x="43906" y="117093"/>
                  </a:lnTo>
                </a:path>
                <a:path w="303530" h="292735">
                  <a:moveTo>
                    <a:pt x="87815" y="292727"/>
                  </a:moveTo>
                  <a:lnTo>
                    <a:pt x="175633" y="292727"/>
                  </a:lnTo>
                  <a:lnTo>
                    <a:pt x="175633" y="0"/>
                  </a:lnTo>
                  <a:lnTo>
                    <a:pt x="87815" y="0"/>
                  </a:lnTo>
                  <a:lnTo>
                    <a:pt x="87815" y="292727"/>
                  </a:lnTo>
                  <a:close/>
                </a:path>
                <a:path w="303530" h="292735">
                  <a:moveTo>
                    <a:pt x="131724" y="43911"/>
                  </a:moveTo>
                  <a:lnTo>
                    <a:pt x="131724" y="117093"/>
                  </a:lnTo>
                </a:path>
              </a:pathLst>
            </a:custGeom>
            <a:ln w="9494">
              <a:solidFill>
                <a:srgbClr val="002C77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1018756" y="5315727"/>
              <a:ext cx="126364" cy="302260"/>
            </a:xfrm>
            <a:custGeom>
              <a:avLst/>
              <a:gdLst/>
              <a:ahLst/>
              <a:cxnLst/>
              <a:rect l="l" t="t" r="r" b="b"/>
              <a:pathLst>
                <a:path w="126365" h="302260">
                  <a:moveTo>
                    <a:pt x="0" y="11690"/>
                  </a:moveTo>
                  <a:lnTo>
                    <a:pt x="87037" y="0"/>
                  </a:lnTo>
                  <a:lnTo>
                    <a:pt x="126000" y="290122"/>
                  </a:lnTo>
                  <a:lnTo>
                    <a:pt x="38963" y="301811"/>
                  </a:lnTo>
                  <a:lnTo>
                    <a:pt x="0" y="11690"/>
                  </a:lnTo>
                  <a:close/>
                </a:path>
              </a:pathLst>
            </a:custGeom>
            <a:ln w="9494">
              <a:solidFill>
                <a:srgbClr val="002C77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1068123" y="5365082"/>
              <a:ext cx="10160" cy="73025"/>
            </a:xfrm>
            <a:custGeom>
              <a:avLst/>
              <a:gdLst/>
              <a:ahLst/>
              <a:cxnLst/>
              <a:rect l="l" t="t" r="r" b="b"/>
              <a:pathLst>
                <a:path w="10159" h="73025">
                  <a:moveTo>
                    <a:pt x="0" y="0"/>
                  </a:moveTo>
                  <a:lnTo>
                    <a:pt x="9739" y="72535"/>
                  </a:lnTo>
                </a:path>
              </a:pathLst>
            </a:custGeom>
            <a:ln w="9494">
              <a:solidFill>
                <a:srgbClr val="002C77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9" name="object 9"/>
          <p:cNvGrpSpPr/>
          <p:nvPr/>
        </p:nvGrpSpPr>
        <p:grpSpPr>
          <a:xfrm>
            <a:off x="825337" y="3194383"/>
            <a:ext cx="332105" cy="297815"/>
            <a:chOff x="825337" y="3194383"/>
            <a:chExt cx="332105" cy="297815"/>
          </a:xfrm>
        </p:grpSpPr>
        <p:sp>
          <p:nvSpPr>
            <p:cNvPr id="10" name="object 10"/>
            <p:cNvSpPr/>
            <p:nvPr/>
          </p:nvSpPr>
          <p:spPr>
            <a:xfrm>
              <a:off x="917899" y="3194383"/>
              <a:ext cx="146685" cy="292735"/>
            </a:xfrm>
            <a:custGeom>
              <a:avLst/>
              <a:gdLst/>
              <a:ahLst/>
              <a:cxnLst/>
              <a:rect l="l" t="t" r="r" b="b"/>
              <a:pathLst>
                <a:path w="146684" h="292735">
                  <a:moveTo>
                    <a:pt x="73181" y="0"/>
                  </a:moveTo>
                  <a:lnTo>
                    <a:pt x="73181" y="256136"/>
                  </a:lnTo>
                </a:path>
                <a:path w="146684" h="292735">
                  <a:moveTo>
                    <a:pt x="0" y="292724"/>
                  </a:moveTo>
                  <a:lnTo>
                    <a:pt x="146363" y="292725"/>
                  </a:lnTo>
                </a:path>
              </a:pathLst>
            </a:custGeom>
            <a:ln w="9494">
              <a:solidFill>
                <a:srgbClr val="002C77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1" name="object 11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825337" y="3196222"/>
              <a:ext cx="331491" cy="215135"/>
            </a:xfrm>
            <a:prstGeom prst="rect">
              <a:avLst/>
            </a:prstGeom>
          </p:spPr>
        </p:pic>
      </p:grpSp>
      <p:sp>
        <p:nvSpPr>
          <p:cNvPr id="18" name="object 18"/>
          <p:cNvSpPr txBox="1"/>
          <p:nvPr/>
        </p:nvSpPr>
        <p:spPr>
          <a:xfrm>
            <a:off x="7723885" y="496951"/>
            <a:ext cx="400494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76530" algn="ctr">
              <a:lnSpc>
                <a:spcPct val="100000"/>
              </a:lnSpc>
              <a:spcBef>
                <a:spcPts val="100"/>
              </a:spcBef>
            </a:pPr>
            <a:r>
              <a:rPr sz="1200" b="1" spc="-185" dirty="0">
                <a:solidFill>
                  <a:srgbClr val="FFFFFF"/>
                </a:solidFill>
                <a:latin typeface="Trebuchet MS"/>
                <a:cs typeface="Trebuchet MS"/>
              </a:rPr>
              <a:t>THE</a:t>
            </a:r>
            <a:r>
              <a:rPr sz="1200" b="1" spc="-90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200" b="1" spc="-100" dirty="0">
                <a:solidFill>
                  <a:srgbClr val="FFFFFF"/>
                </a:solidFill>
                <a:latin typeface="Trebuchet MS"/>
                <a:cs typeface="Trebuchet MS"/>
              </a:rPr>
              <a:t>BASIC</a:t>
            </a:r>
            <a:r>
              <a:rPr sz="1200" b="1" spc="-120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200" b="1" spc="-30" dirty="0">
                <a:solidFill>
                  <a:srgbClr val="FFFFFF"/>
                </a:solidFill>
                <a:latin typeface="Trebuchet MS"/>
                <a:cs typeface="Trebuchet MS"/>
              </a:rPr>
              <a:t>CONCEPTS</a:t>
            </a:r>
            <a:endParaRPr sz="1200">
              <a:latin typeface="Trebuchet MS"/>
              <a:cs typeface="Trebuchet MS"/>
            </a:endParaRPr>
          </a:p>
        </p:txBody>
      </p:sp>
      <p:pic>
        <p:nvPicPr>
          <p:cNvPr id="23" name="object 23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858944" y="4121523"/>
            <a:ext cx="257842" cy="264795"/>
          </a:xfrm>
          <a:prstGeom prst="rect">
            <a:avLst/>
          </a:prstGeom>
        </p:spPr>
      </p:pic>
      <p:sp>
        <p:nvSpPr>
          <p:cNvPr id="26" name="object 26"/>
          <p:cNvSpPr txBox="1"/>
          <p:nvPr/>
        </p:nvSpPr>
        <p:spPr>
          <a:xfrm>
            <a:off x="12133453" y="6612204"/>
            <a:ext cx="109220" cy="63500"/>
          </a:xfrm>
          <a:prstGeom prst="rect">
            <a:avLst/>
          </a:prstGeom>
        </p:spPr>
        <p:txBody>
          <a:bodyPr vert="horz" wrap="square" lIns="0" tIns="3175" rIns="0" bIns="0" rtlCol="0">
            <a:spAutoFit/>
          </a:bodyPr>
          <a:lstStyle/>
          <a:p>
            <a:pPr marL="17780">
              <a:lnSpc>
                <a:spcPct val="100000"/>
              </a:lnSpc>
              <a:spcBef>
                <a:spcPts val="25"/>
              </a:spcBef>
            </a:pPr>
            <a:fld id="{81D60167-4931-47E6-BA6A-407CBD079E47}" type="slidenum">
              <a:rPr sz="300" spc="-25" dirty="0">
                <a:latin typeface="Calibri"/>
                <a:cs typeface="Calibri"/>
              </a:rPr>
              <a:t>6</a:t>
            </a:fld>
            <a:endParaRPr sz="3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444500" y="309118"/>
            <a:ext cx="5867524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800" cap="all" dirty="0">
                <a:solidFill>
                  <a:schemeClr val="tx2"/>
                </a:solidFill>
                <a:latin typeface="Verdana" panose="020B0604030504040204" pitchFamily="34" charset="0"/>
                <a:cs typeface="+mj-cs"/>
              </a:rPr>
              <a:t>KEY RISKS OF GENAI (2/2)</a:t>
            </a:r>
          </a:p>
        </p:txBody>
      </p:sp>
      <p:graphicFrame>
        <p:nvGraphicFramePr>
          <p:cNvPr id="3" name="object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6832069"/>
              </p:ext>
            </p:extLst>
          </p:nvPr>
        </p:nvGraphicFramePr>
        <p:xfrm>
          <a:off x="450850" y="1384300"/>
          <a:ext cx="11330939" cy="429641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36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028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73900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87540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51371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2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002C77"/>
                      </a:solidFill>
                      <a:prstDash val="solid"/>
                    </a:lnL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575945">
                        <a:lnSpc>
                          <a:spcPct val="100000"/>
                        </a:lnSpc>
                        <a:spcBef>
                          <a:spcPts val="1095"/>
                        </a:spcBef>
                      </a:pPr>
                      <a:r>
                        <a:rPr sz="1400" b="1" spc="-2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Risks</a:t>
                      </a:r>
                      <a:endParaRPr sz="1400" dirty="0">
                        <a:latin typeface="Calibri"/>
                        <a:cs typeface="Calibri"/>
                      </a:endParaRPr>
                    </a:p>
                  </a:txBody>
                  <a:tcPr marL="0" marR="0" marT="139065" marB="0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144145">
                        <a:lnSpc>
                          <a:spcPct val="100000"/>
                        </a:lnSpc>
                        <a:spcBef>
                          <a:spcPts val="1095"/>
                        </a:spcBef>
                      </a:pPr>
                      <a:r>
                        <a:rPr sz="1400" b="1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Description</a:t>
                      </a:r>
                      <a:endParaRPr sz="1400" dirty="0">
                        <a:latin typeface="Calibri"/>
                        <a:cs typeface="Calibri"/>
                      </a:endParaRPr>
                    </a:p>
                  </a:txBody>
                  <a:tcPr marL="0" marR="0" marT="139065" marB="0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203200">
                        <a:lnSpc>
                          <a:spcPct val="100000"/>
                        </a:lnSpc>
                        <a:spcBef>
                          <a:spcPts val="1095"/>
                        </a:spcBef>
                      </a:pPr>
                      <a:r>
                        <a:rPr sz="1400" b="1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Examples</a:t>
                      </a:r>
                      <a:endParaRPr sz="1400" dirty="0">
                        <a:latin typeface="Calibri"/>
                        <a:cs typeface="Calibri"/>
                      </a:endParaRPr>
                    </a:p>
                  </a:txBody>
                  <a:tcPr marL="0" marR="0" marT="139065" marB="0">
                    <a:lnR w="12700">
                      <a:solidFill>
                        <a:srgbClr val="002C77"/>
                      </a:solidFill>
                      <a:prstDash val="solid"/>
                    </a:ln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7858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002C77"/>
                      </a:solidFill>
                      <a:prstDash val="solid"/>
                    </a:lnL>
                    <a:lnB w="12700">
                      <a:solidFill>
                        <a:srgbClr val="002C77"/>
                      </a:solidFill>
                      <a:prstDash val="solid"/>
                    </a:lnB>
                    <a:solidFill>
                      <a:srgbClr val="FFF77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  <a:p>
                      <a:pPr marL="575945" marR="502920">
                        <a:lnSpc>
                          <a:spcPct val="100000"/>
                        </a:lnSpc>
                      </a:pPr>
                      <a:r>
                        <a:rPr sz="1400" b="1" dirty="0">
                          <a:latin typeface="Calibri"/>
                          <a:cs typeface="Calibri"/>
                        </a:rPr>
                        <a:t>Explainability</a:t>
                      </a:r>
                      <a:r>
                        <a:rPr sz="1400" b="1" spc="-7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b="1" spc="-25" dirty="0">
                          <a:latin typeface="Calibri"/>
                          <a:cs typeface="Calibri"/>
                        </a:rPr>
                        <a:t>and </a:t>
                      </a:r>
                      <a:r>
                        <a:rPr sz="1400" b="1" spc="-10" dirty="0">
                          <a:latin typeface="Calibri"/>
                          <a:cs typeface="Calibri"/>
                        </a:rPr>
                        <a:t>transparency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B w="12700">
                      <a:solidFill>
                        <a:srgbClr val="002C77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1075"/>
                        </a:spcBef>
                      </a:pPr>
                      <a:endParaRPr sz="1200">
                        <a:latin typeface="Times New Roman"/>
                        <a:cs typeface="Times New Roman"/>
                      </a:endParaRPr>
                    </a:p>
                    <a:p>
                      <a:pPr marL="144145" marR="422275">
                        <a:lnSpc>
                          <a:spcPct val="100000"/>
                        </a:lnSpc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Although</a:t>
                      </a:r>
                      <a:r>
                        <a:rPr sz="1200" spc="-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predictive</a:t>
                      </a:r>
                      <a:r>
                        <a:rPr sz="1200" spc="-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AI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models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can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have</a:t>
                      </a:r>
                      <a:r>
                        <a:rPr sz="1200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low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explainability,</a:t>
                      </a:r>
                      <a:r>
                        <a:rPr sz="1200" spc="-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GenAI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models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are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particularly</a:t>
                      </a:r>
                      <a:r>
                        <a:rPr sz="1200" spc="-5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opaque</a:t>
                      </a:r>
                      <a:r>
                        <a:rPr sz="12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in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how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they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generate</a:t>
                      </a:r>
                      <a:r>
                        <a:rPr sz="1200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their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outputs,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making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it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difficult</a:t>
                      </a:r>
                      <a:r>
                        <a:rPr sz="1200" spc="-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to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identify</a:t>
                      </a:r>
                      <a:r>
                        <a:rPr sz="1200" spc="-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root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causes of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errors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and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to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predict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potential</a:t>
                      </a:r>
                      <a:r>
                        <a:rPr sz="1200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mistakes.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36525" marB="0">
                    <a:lnB w="12700">
                      <a:solidFill>
                        <a:srgbClr val="002C7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75920" marR="355600" indent="-172720">
                        <a:lnSpc>
                          <a:spcPct val="100000"/>
                        </a:lnSpc>
                        <a:spcBef>
                          <a:spcPts val="1015"/>
                        </a:spcBef>
                        <a:buFont typeface="Arial MT"/>
                        <a:buChar char="•"/>
                        <a:tabLst>
                          <a:tab pos="375920" algn="l"/>
                        </a:tabLst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In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summarization</a:t>
                      </a:r>
                      <a:r>
                        <a:rPr sz="12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tasks</a:t>
                      </a:r>
                      <a:r>
                        <a:rPr sz="1200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it might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not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be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clear how 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it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arrived</a:t>
                      </a:r>
                      <a:r>
                        <a:rPr sz="1200" spc="-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at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that</a:t>
                      </a:r>
                      <a:r>
                        <a:rPr sz="1200" spc="-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specific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summary,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what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factors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it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considered</a:t>
                      </a:r>
                      <a:r>
                        <a:rPr sz="12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or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what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it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overlooked.</a:t>
                      </a:r>
                      <a:endParaRPr sz="1200">
                        <a:latin typeface="Calibri"/>
                        <a:cs typeface="Calibri"/>
                      </a:endParaRPr>
                    </a:p>
                    <a:p>
                      <a:pPr marL="375920" marR="198755" indent="-172720">
                        <a:lnSpc>
                          <a:spcPct val="100000"/>
                        </a:lnSpc>
                        <a:buFont typeface="Arial MT"/>
                        <a:buChar char="•"/>
                        <a:tabLst>
                          <a:tab pos="375920" algn="l"/>
                        </a:tabLst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Similar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to</a:t>
                      </a:r>
                      <a:r>
                        <a:rPr sz="1200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the</a:t>
                      </a:r>
                      <a:r>
                        <a:rPr sz="1200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examples</a:t>
                      </a:r>
                      <a:r>
                        <a:rPr sz="1200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in</a:t>
                      </a:r>
                      <a:r>
                        <a:rPr sz="1200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‘Knowledge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grounding</a:t>
                      </a:r>
                      <a:r>
                        <a:rPr sz="1200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and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recall’,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it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cannot</a:t>
                      </a:r>
                      <a:r>
                        <a:rPr sz="12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provide</a:t>
                      </a:r>
                      <a:r>
                        <a:rPr sz="1200" spc="-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references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it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used</a:t>
                      </a:r>
                      <a:r>
                        <a:rPr sz="12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to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come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up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with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an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 answer.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28905" marB="0">
                    <a:lnR w="12700">
                      <a:solidFill>
                        <a:srgbClr val="002C77"/>
                      </a:solidFill>
                      <a:prstDash val="solid"/>
                    </a:lnR>
                    <a:lnB w="12700">
                      <a:solidFill>
                        <a:srgbClr val="002C77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0205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002C77"/>
                      </a:solidFill>
                      <a:prstDash val="solid"/>
                    </a:lnL>
                    <a:lnT w="12700">
                      <a:solidFill>
                        <a:srgbClr val="002C77"/>
                      </a:solidFill>
                      <a:prstDash val="solid"/>
                    </a:lnT>
                    <a:lnB w="12700">
                      <a:solidFill>
                        <a:srgbClr val="002C77"/>
                      </a:solidFill>
                      <a:prstDash val="solid"/>
                    </a:lnB>
                    <a:solidFill>
                      <a:srgbClr val="FFC5EA"/>
                    </a:solidFill>
                  </a:tcPr>
                </a:tc>
                <a:tc>
                  <a:txBody>
                    <a:bodyPr/>
                    <a:lstStyle/>
                    <a:p>
                      <a:pPr marL="575945" marR="238760">
                        <a:lnSpc>
                          <a:spcPct val="100000"/>
                        </a:lnSpc>
                        <a:spcBef>
                          <a:spcPts val="1285"/>
                        </a:spcBef>
                      </a:pPr>
                      <a:r>
                        <a:rPr sz="1400" b="1" dirty="0">
                          <a:latin typeface="Calibri"/>
                          <a:cs typeface="Calibri"/>
                        </a:rPr>
                        <a:t>Accuracy,</a:t>
                      </a:r>
                      <a:r>
                        <a:rPr sz="1400" b="1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b="1" dirty="0">
                          <a:latin typeface="Calibri"/>
                          <a:cs typeface="Calibri"/>
                        </a:rPr>
                        <a:t>quality</a:t>
                      </a:r>
                      <a:r>
                        <a:rPr sz="1400" b="1" spc="-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b="1" spc="-25" dirty="0">
                          <a:latin typeface="Calibri"/>
                          <a:cs typeface="Calibri"/>
                        </a:rPr>
                        <a:t>and </a:t>
                      </a:r>
                      <a:r>
                        <a:rPr sz="1400" b="1" spc="-10" dirty="0">
                          <a:latin typeface="Calibri"/>
                          <a:cs typeface="Calibri"/>
                        </a:rPr>
                        <a:t>reliability/ performance degradation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163195" marB="0">
                    <a:lnT w="12700">
                      <a:solidFill>
                        <a:srgbClr val="002C77"/>
                      </a:solidFill>
                      <a:prstDash val="solid"/>
                    </a:lnT>
                    <a:lnB w="12700">
                      <a:solidFill>
                        <a:srgbClr val="002C77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144145">
                        <a:lnSpc>
                          <a:spcPct val="100000"/>
                        </a:lnSpc>
                        <a:spcBef>
                          <a:spcPts val="1065"/>
                        </a:spcBef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GenAI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is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 optimised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to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work out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probable</a:t>
                      </a:r>
                      <a:r>
                        <a:rPr sz="1200" spc="-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or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realistic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sounding</a:t>
                      </a:r>
                      <a:r>
                        <a:rPr sz="1200" spc="-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answers,</a:t>
                      </a:r>
                      <a:endParaRPr sz="1200">
                        <a:latin typeface="Calibri"/>
                        <a:cs typeface="Calibri"/>
                      </a:endParaRPr>
                    </a:p>
                    <a:p>
                      <a:pPr marL="144145">
                        <a:lnSpc>
                          <a:spcPct val="100000"/>
                        </a:lnSpc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rather</a:t>
                      </a:r>
                      <a:r>
                        <a:rPr sz="1200" spc="-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than</a:t>
                      </a:r>
                      <a:r>
                        <a:rPr sz="1200" spc="-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giving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a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calculated</a:t>
                      </a:r>
                      <a:r>
                        <a:rPr sz="1200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‘right’</a:t>
                      </a:r>
                      <a:r>
                        <a:rPr sz="1200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answer.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For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example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GenAI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models</a:t>
                      </a:r>
                      <a:endParaRPr sz="1200">
                        <a:latin typeface="Calibri"/>
                        <a:cs typeface="Calibri"/>
                      </a:endParaRPr>
                    </a:p>
                    <a:p>
                      <a:pPr marL="144145">
                        <a:lnSpc>
                          <a:spcPct val="100000"/>
                        </a:lnSpc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are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generally</a:t>
                      </a:r>
                      <a:r>
                        <a:rPr sz="1200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not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suited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for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numerical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calculation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tasks.</a:t>
                      </a:r>
                      <a:endParaRPr sz="1200">
                        <a:latin typeface="Calibri"/>
                        <a:cs typeface="Calibri"/>
                      </a:endParaRPr>
                    </a:p>
                    <a:p>
                      <a:pPr marL="144145" marR="195580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Furthermore,</a:t>
                      </a:r>
                      <a:r>
                        <a:rPr sz="1200" spc="-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performance</a:t>
                      </a:r>
                      <a:r>
                        <a:rPr sz="12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of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LLMs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may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vary</a:t>
                      </a:r>
                      <a:r>
                        <a:rPr sz="12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or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degrade</a:t>
                      </a:r>
                      <a:r>
                        <a:rPr sz="12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over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time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due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to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various</a:t>
                      </a:r>
                      <a:r>
                        <a:rPr sz="12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factors.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35255" marB="0">
                    <a:lnT w="12700">
                      <a:solidFill>
                        <a:srgbClr val="002C77"/>
                      </a:solidFill>
                      <a:prstDash val="solid"/>
                    </a:lnT>
                    <a:lnB w="12700">
                      <a:solidFill>
                        <a:srgbClr val="002C7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76555" indent="-173355">
                        <a:lnSpc>
                          <a:spcPct val="100000"/>
                        </a:lnSpc>
                        <a:spcBef>
                          <a:spcPts val="1065"/>
                        </a:spcBef>
                        <a:buFont typeface="Arial MT"/>
                        <a:buChar char="•"/>
                        <a:tabLst>
                          <a:tab pos="376555" algn="l"/>
                        </a:tabLst>
                      </a:pPr>
                      <a:r>
                        <a:rPr sz="1200" spc="-10" dirty="0">
                          <a:latin typeface="Calibri"/>
                          <a:cs typeface="Calibri"/>
                        </a:rPr>
                        <a:t>GPT-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3.5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cannot</a:t>
                      </a:r>
                      <a:r>
                        <a:rPr sz="12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correctly</a:t>
                      </a:r>
                      <a:r>
                        <a:rPr sz="12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answer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“Can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you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calculate</a:t>
                      </a:r>
                      <a:endParaRPr sz="1200">
                        <a:latin typeface="Calibri"/>
                        <a:cs typeface="Calibri"/>
                      </a:endParaRPr>
                    </a:p>
                    <a:p>
                      <a:pPr marL="375920">
                        <a:lnSpc>
                          <a:spcPct val="100000"/>
                        </a:lnSpc>
                      </a:pPr>
                      <a:r>
                        <a:rPr sz="1200" spc="-10" dirty="0">
                          <a:latin typeface="Calibri"/>
                          <a:cs typeface="Calibri"/>
                        </a:rPr>
                        <a:t>65-3+3%-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3”.</a:t>
                      </a:r>
                      <a:endParaRPr sz="1200">
                        <a:latin typeface="Calibri"/>
                        <a:cs typeface="Calibri"/>
                      </a:endParaRPr>
                    </a:p>
                    <a:p>
                      <a:pPr marL="375920" marR="252095" indent="-172720">
                        <a:lnSpc>
                          <a:spcPct val="100000"/>
                        </a:lnSpc>
                        <a:buFont typeface="Arial MT"/>
                        <a:buChar char="•"/>
                        <a:tabLst>
                          <a:tab pos="375920" algn="l"/>
                        </a:tabLst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Lexical ambiguity</a:t>
                      </a:r>
                      <a:r>
                        <a:rPr sz="1200" spc="-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of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the</a:t>
                      </a:r>
                      <a:r>
                        <a:rPr sz="1200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same words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that</a:t>
                      </a:r>
                      <a:r>
                        <a:rPr sz="12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have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different</a:t>
                      </a:r>
                      <a:r>
                        <a:rPr sz="1200" spc="-6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meaning.</a:t>
                      </a:r>
                      <a:r>
                        <a:rPr sz="1200" spc="-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For</a:t>
                      </a:r>
                      <a:r>
                        <a:rPr sz="1200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example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premium</a:t>
                      </a:r>
                      <a:r>
                        <a:rPr sz="1200" spc="-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(insurance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vs</a:t>
                      </a:r>
                      <a:r>
                        <a:rPr sz="1200" spc="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quality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mark-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up).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35255" marB="0">
                    <a:lnR w="12700">
                      <a:solidFill>
                        <a:srgbClr val="002C77"/>
                      </a:solidFill>
                      <a:prstDash val="solid"/>
                    </a:lnR>
                    <a:lnT w="12700">
                      <a:solidFill>
                        <a:srgbClr val="002C77"/>
                      </a:solidFill>
                      <a:prstDash val="solid"/>
                    </a:lnT>
                    <a:lnB w="12700">
                      <a:solidFill>
                        <a:srgbClr val="002C77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0205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002C77"/>
                      </a:solidFill>
                      <a:prstDash val="solid"/>
                    </a:lnL>
                    <a:lnT w="12700">
                      <a:solidFill>
                        <a:srgbClr val="002C77"/>
                      </a:solidFill>
                      <a:prstDash val="solid"/>
                    </a:lnT>
                    <a:lnB w="12700">
                      <a:solidFill>
                        <a:srgbClr val="002C77"/>
                      </a:solidFill>
                      <a:prstDash val="solid"/>
                    </a:lnB>
                    <a:solidFill>
                      <a:srgbClr val="E08EB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590"/>
                        </a:spcBef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  <a:p>
                      <a:pPr marL="575945">
                        <a:lnSpc>
                          <a:spcPct val="100000"/>
                        </a:lnSpc>
                      </a:pPr>
                      <a:r>
                        <a:rPr sz="1400" b="1" dirty="0">
                          <a:latin typeface="Calibri"/>
                          <a:cs typeface="Calibri"/>
                        </a:rPr>
                        <a:t>Data</a:t>
                      </a:r>
                      <a:r>
                        <a:rPr sz="1400" b="1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b="1" spc="-10" dirty="0">
                          <a:latin typeface="Calibri"/>
                          <a:cs typeface="Calibri"/>
                        </a:rPr>
                        <a:t>privacy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T w="12700">
                      <a:solidFill>
                        <a:srgbClr val="002C77"/>
                      </a:solidFill>
                      <a:prstDash val="solid"/>
                    </a:lnT>
                    <a:lnB w="12700">
                      <a:solidFill>
                        <a:srgbClr val="002C77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09"/>
                        </a:spcBef>
                      </a:pPr>
                      <a:endParaRPr sz="1200">
                        <a:latin typeface="Times New Roman"/>
                        <a:cs typeface="Times New Roman"/>
                      </a:endParaRPr>
                    </a:p>
                    <a:p>
                      <a:pPr marL="144145" marR="288290">
                        <a:lnSpc>
                          <a:spcPct val="100000"/>
                        </a:lnSpc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Data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for</a:t>
                      </a:r>
                      <a:r>
                        <a:rPr sz="12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training</a:t>
                      </a:r>
                      <a:r>
                        <a:rPr sz="1200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GenAI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models,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may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include</a:t>
                      </a:r>
                      <a:r>
                        <a:rPr sz="1200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personal</a:t>
                      </a:r>
                      <a:r>
                        <a:rPr sz="1200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or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sensitive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information.</a:t>
                      </a:r>
                      <a:r>
                        <a:rPr sz="1200" spc="-5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As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GenAI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models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can</a:t>
                      </a:r>
                      <a:r>
                        <a:rPr sz="12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memorize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text</a:t>
                      </a:r>
                      <a:r>
                        <a:rPr sz="12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patterns,</a:t>
                      </a:r>
                      <a:r>
                        <a:rPr sz="1200" spc="-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there's</a:t>
                      </a:r>
                      <a:r>
                        <a:rPr sz="1200" spc="-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an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increased</a:t>
                      </a:r>
                      <a:r>
                        <a:rPr sz="12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risk</a:t>
                      </a:r>
                      <a:r>
                        <a:rPr sz="12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of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inadvertently</a:t>
                      </a:r>
                      <a:r>
                        <a:rPr sz="1200" spc="-5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revealing</a:t>
                      </a:r>
                      <a:r>
                        <a:rPr sz="1200" spc="-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private</a:t>
                      </a:r>
                      <a:r>
                        <a:rPr sz="1200" spc="-5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information</a:t>
                      </a:r>
                      <a:r>
                        <a:rPr sz="1200" spc="-5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or</a:t>
                      </a:r>
                      <a:endParaRPr sz="1200">
                        <a:latin typeface="Calibri"/>
                        <a:cs typeface="Calibri"/>
                      </a:endParaRPr>
                    </a:p>
                    <a:p>
                      <a:pPr marL="144145">
                        <a:lnSpc>
                          <a:spcPct val="100000"/>
                        </a:lnSpc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generating</a:t>
                      </a:r>
                      <a:r>
                        <a:rPr sz="1200" spc="-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content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that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compromises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individuals’ or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company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privacy.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52069" marB="0">
                    <a:lnT w="12700">
                      <a:solidFill>
                        <a:srgbClr val="002C77"/>
                      </a:solidFill>
                      <a:prstDash val="solid"/>
                    </a:lnT>
                    <a:lnB w="12700">
                      <a:solidFill>
                        <a:srgbClr val="002C7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75920" marR="342900" indent="-172720">
                        <a:lnSpc>
                          <a:spcPct val="100000"/>
                        </a:lnSpc>
                        <a:spcBef>
                          <a:spcPts val="1070"/>
                        </a:spcBef>
                        <a:buFont typeface="Arial MT"/>
                        <a:buChar char="•"/>
                        <a:tabLst>
                          <a:tab pos="375920" algn="l"/>
                        </a:tabLst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An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application</a:t>
                      </a:r>
                      <a:r>
                        <a:rPr sz="1200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trained</a:t>
                      </a:r>
                      <a:r>
                        <a:rPr sz="1200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on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claims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data</a:t>
                      </a:r>
                      <a:r>
                        <a:rPr sz="12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that</a:t>
                      </a:r>
                      <a:r>
                        <a:rPr sz="12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contains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personal</a:t>
                      </a:r>
                      <a:r>
                        <a:rPr sz="1200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information</a:t>
                      </a:r>
                      <a:r>
                        <a:rPr sz="1200" spc="-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should</a:t>
                      </a:r>
                      <a:r>
                        <a:rPr sz="12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only</a:t>
                      </a:r>
                      <a:r>
                        <a:rPr sz="1200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be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used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 by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authorised</a:t>
                      </a:r>
                      <a:r>
                        <a:rPr sz="1200" spc="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employees.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  <a:p>
                      <a:pPr marL="375920" indent="-172720">
                        <a:lnSpc>
                          <a:spcPct val="100000"/>
                        </a:lnSpc>
                        <a:buFont typeface="Arial MT"/>
                        <a:buChar char="•"/>
                        <a:tabLst>
                          <a:tab pos="375920" algn="l"/>
                        </a:tabLst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Pasting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company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data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in non-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company</a:t>
                      </a:r>
                      <a:r>
                        <a:rPr sz="1200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approved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  <a:p>
                      <a:pPr marL="375920">
                        <a:lnSpc>
                          <a:spcPct val="100000"/>
                        </a:lnSpc>
                      </a:pPr>
                      <a:r>
                        <a:rPr sz="1200" spc="-10" dirty="0">
                          <a:latin typeface="Calibri"/>
                          <a:cs typeface="Calibri"/>
                        </a:rPr>
                        <a:t>chatbots.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135890" marB="0">
                    <a:lnR w="12700">
                      <a:solidFill>
                        <a:srgbClr val="002C77"/>
                      </a:solidFill>
                      <a:prstDash val="solid"/>
                    </a:lnR>
                    <a:lnT w="12700">
                      <a:solidFill>
                        <a:srgbClr val="002C77"/>
                      </a:solidFill>
                      <a:prstDash val="solid"/>
                    </a:lnT>
                    <a:lnB w="12700">
                      <a:solidFill>
                        <a:srgbClr val="002C77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4" name="object 4"/>
          <p:cNvSpPr/>
          <p:nvPr/>
        </p:nvSpPr>
        <p:spPr>
          <a:xfrm>
            <a:off x="859357" y="4938014"/>
            <a:ext cx="263525" cy="307975"/>
          </a:xfrm>
          <a:custGeom>
            <a:avLst/>
            <a:gdLst/>
            <a:ahLst/>
            <a:cxnLst/>
            <a:rect l="l" t="t" r="r" b="b"/>
            <a:pathLst>
              <a:path w="263525" h="307975">
                <a:moveTo>
                  <a:pt x="73178" y="219545"/>
                </a:moveTo>
                <a:lnTo>
                  <a:pt x="190269" y="219545"/>
                </a:lnTo>
                <a:lnTo>
                  <a:pt x="190269" y="146363"/>
                </a:lnTo>
                <a:lnTo>
                  <a:pt x="73178" y="146363"/>
                </a:lnTo>
                <a:lnTo>
                  <a:pt x="73178" y="219545"/>
                </a:lnTo>
                <a:close/>
              </a:path>
              <a:path w="263525" h="307975">
                <a:moveTo>
                  <a:pt x="102451" y="146363"/>
                </a:moveTo>
                <a:lnTo>
                  <a:pt x="102451" y="102454"/>
                </a:lnTo>
                <a:lnTo>
                  <a:pt x="131724" y="73181"/>
                </a:lnTo>
                <a:lnTo>
                  <a:pt x="143104" y="75505"/>
                </a:lnTo>
                <a:lnTo>
                  <a:pt x="152400" y="81780"/>
                </a:lnTo>
                <a:lnTo>
                  <a:pt x="158676" y="91074"/>
                </a:lnTo>
                <a:lnTo>
                  <a:pt x="160997" y="102454"/>
                </a:lnTo>
                <a:lnTo>
                  <a:pt x="160997" y="146363"/>
                </a:lnTo>
              </a:path>
              <a:path w="263525" h="307975">
                <a:moveTo>
                  <a:pt x="263451" y="175636"/>
                </a:moveTo>
                <a:lnTo>
                  <a:pt x="256736" y="217271"/>
                </a:lnTo>
                <a:lnTo>
                  <a:pt x="238037" y="253431"/>
                </a:lnTo>
                <a:lnTo>
                  <a:pt x="209522" y="281945"/>
                </a:lnTo>
                <a:lnTo>
                  <a:pt x="173361" y="300645"/>
                </a:lnTo>
                <a:lnTo>
                  <a:pt x="131724" y="307361"/>
                </a:lnTo>
                <a:lnTo>
                  <a:pt x="90089" y="300645"/>
                </a:lnTo>
                <a:lnTo>
                  <a:pt x="53929" y="281945"/>
                </a:lnTo>
                <a:lnTo>
                  <a:pt x="25415" y="253431"/>
                </a:lnTo>
                <a:lnTo>
                  <a:pt x="6715" y="217271"/>
                </a:lnTo>
                <a:lnTo>
                  <a:pt x="0" y="175636"/>
                </a:lnTo>
                <a:lnTo>
                  <a:pt x="0" y="29272"/>
                </a:lnTo>
                <a:lnTo>
                  <a:pt x="131724" y="0"/>
                </a:lnTo>
                <a:lnTo>
                  <a:pt x="263451" y="29272"/>
                </a:lnTo>
                <a:lnTo>
                  <a:pt x="263451" y="175636"/>
                </a:lnTo>
                <a:close/>
              </a:path>
            </a:pathLst>
          </a:custGeom>
          <a:ln w="9494">
            <a:solidFill>
              <a:srgbClr val="002C77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5" name="object 5"/>
          <p:cNvGrpSpPr/>
          <p:nvPr/>
        </p:nvGrpSpPr>
        <p:grpSpPr>
          <a:xfrm>
            <a:off x="822396" y="2485594"/>
            <a:ext cx="326390" cy="223520"/>
            <a:chOff x="822396" y="2485594"/>
            <a:chExt cx="326390" cy="223520"/>
          </a:xfrm>
        </p:grpSpPr>
        <p:sp>
          <p:nvSpPr>
            <p:cNvPr id="6" name="object 6"/>
            <p:cNvSpPr/>
            <p:nvPr/>
          </p:nvSpPr>
          <p:spPr>
            <a:xfrm>
              <a:off x="887045" y="2487756"/>
              <a:ext cx="259715" cy="178435"/>
            </a:xfrm>
            <a:custGeom>
              <a:avLst/>
              <a:gdLst/>
              <a:ahLst/>
              <a:cxnLst/>
              <a:rect l="l" t="t" r="r" b="b"/>
              <a:pathLst>
                <a:path w="259715" h="178435">
                  <a:moveTo>
                    <a:pt x="240867" y="0"/>
                  </a:moveTo>
                  <a:lnTo>
                    <a:pt x="18528" y="0"/>
                  </a:lnTo>
                  <a:lnTo>
                    <a:pt x="0" y="18528"/>
                  </a:lnTo>
                  <a:lnTo>
                    <a:pt x="0" y="71570"/>
                  </a:lnTo>
                  <a:lnTo>
                    <a:pt x="7411" y="70502"/>
                  </a:lnTo>
                  <a:lnTo>
                    <a:pt x="7411" y="12389"/>
                  </a:lnTo>
                  <a:lnTo>
                    <a:pt x="12389" y="7411"/>
                  </a:lnTo>
                  <a:lnTo>
                    <a:pt x="247012" y="7411"/>
                  </a:lnTo>
                  <a:lnTo>
                    <a:pt x="251984" y="12389"/>
                  </a:lnTo>
                  <a:lnTo>
                    <a:pt x="251984" y="165487"/>
                  </a:lnTo>
                  <a:lnTo>
                    <a:pt x="247012" y="170465"/>
                  </a:lnTo>
                  <a:lnTo>
                    <a:pt x="97597" y="170465"/>
                  </a:lnTo>
                  <a:lnTo>
                    <a:pt x="90683" y="177877"/>
                  </a:lnTo>
                  <a:lnTo>
                    <a:pt x="240867" y="177877"/>
                  </a:lnTo>
                  <a:lnTo>
                    <a:pt x="259395" y="159348"/>
                  </a:lnTo>
                  <a:lnTo>
                    <a:pt x="259395" y="18529"/>
                  </a:lnTo>
                  <a:lnTo>
                    <a:pt x="257938" y="11320"/>
                  </a:lnTo>
                  <a:lnTo>
                    <a:pt x="253964" y="5433"/>
                  </a:lnTo>
                  <a:lnTo>
                    <a:pt x="248074" y="1462"/>
                  </a:lnTo>
                  <a:lnTo>
                    <a:pt x="240867" y="0"/>
                  </a:lnTo>
                  <a:close/>
                </a:path>
              </a:pathLst>
            </a:custGeom>
            <a:solidFill>
              <a:srgbClr val="002C7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887045" y="2487756"/>
              <a:ext cx="259715" cy="178435"/>
            </a:xfrm>
            <a:custGeom>
              <a:avLst/>
              <a:gdLst/>
              <a:ahLst/>
              <a:cxnLst/>
              <a:rect l="l" t="t" r="r" b="b"/>
              <a:pathLst>
                <a:path w="259715" h="178435">
                  <a:moveTo>
                    <a:pt x="240867" y="0"/>
                  </a:moveTo>
                  <a:lnTo>
                    <a:pt x="18528" y="0"/>
                  </a:lnTo>
                  <a:lnTo>
                    <a:pt x="0" y="18528"/>
                  </a:lnTo>
                  <a:lnTo>
                    <a:pt x="0" y="71570"/>
                  </a:lnTo>
                  <a:lnTo>
                    <a:pt x="2433" y="70977"/>
                  </a:lnTo>
                  <a:lnTo>
                    <a:pt x="4913" y="70619"/>
                  </a:lnTo>
                  <a:lnTo>
                    <a:pt x="7411" y="70502"/>
                  </a:lnTo>
                  <a:lnTo>
                    <a:pt x="7411" y="18528"/>
                  </a:lnTo>
                  <a:lnTo>
                    <a:pt x="7411" y="12389"/>
                  </a:lnTo>
                  <a:lnTo>
                    <a:pt x="12389" y="7411"/>
                  </a:lnTo>
                  <a:lnTo>
                    <a:pt x="18528" y="7411"/>
                  </a:lnTo>
                  <a:lnTo>
                    <a:pt x="240867" y="7411"/>
                  </a:lnTo>
                  <a:lnTo>
                    <a:pt x="247012" y="7411"/>
                  </a:lnTo>
                  <a:lnTo>
                    <a:pt x="251984" y="12389"/>
                  </a:lnTo>
                  <a:lnTo>
                    <a:pt x="251984" y="18529"/>
                  </a:lnTo>
                  <a:lnTo>
                    <a:pt x="251984" y="159348"/>
                  </a:lnTo>
                  <a:lnTo>
                    <a:pt x="251984" y="165487"/>
                  </a:lnTo>
                  <a:lnTo>
                    <a:pt x="247012" y="170465"/>
                  </a:lnTo>
                  <a:lnTo>
                    <a:pt x="240867" y="170465"/>
                  </a:lnTo>
                  <a:lnTo>
                    <a:pt x="97597" y="170465"/>
                  </a:lnTo>
                  <a:lnTo>
                    <a:pt x="90683" y="177877"/>
                  </a:lnTo>
                  <a:lnTo>
                    <a:pt x="240867" y="177877"/>
                  </a:lnTo>
                  <a:lnTo>
                    <a:pt x="248074" y="176415"/>
                  </a:lnTo>
                  <a:lnTo>
                    <a:pt x="253964" y="172443"/>
                  </a:lnTo>
                  <a:lnTo>
                    <a:pt x="257938" y="166556"/>
                  </a:lnTo>
                  <a:lnTo>
                    <a:pt x="259395" y="159348"/>
                  </a:lnTo>
                  <a:lnTo>
                    <a:pt x="259395" y="18529"/>
                  </a:lnTo>
                  <a:lnTo>
                    <a:pt x="257938" y="11320"/>
                  </a:lnTo>
                  <a:lnTo>
                    <a:pt x="253964" y="5433"/>
                  </a:lnTo>
                  <a:lnTo>
                    <a:pt x="248074" y="1462"/>
                  </a:lnTo>
                  <a:lnTo>
                    <a:pt x="240867" y="0"/>
                  </a:lnTo>
                  <a:close/>
                </a:path>
              </a:pathLst>
            </a:custGeom>
            <a:ln w="4323">
              <a:solidFill>
                <a:srgbClr val="002C77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8" name="object 8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822396" y="2563415"/>
              <a:ext cx="200387" cy="145476"/>
            </a:xfrm>
            <a:prstGeom prst="rect">
              <a:avLst/>
            </a:prstGeom>
          </p:spPr>
        </p:pic>
      </p:grpSp>
      <p:grpSp>
        <p:nvGrpSpPr>
          <p:cNvPr id="9" name="object 9"/>
          <p:cNvGrpSpPr/>
          <p:nvPr/>
        </p:nvGrpSpPr>
        <p:grpSpPr>
          <a:xfrm>
            <a:off x="844122" y="3742425"/>
            <a:ext cx="286385" cy="286385"/>
            <a:chOff x="844122" y="3742425"/>
            <a:chExt cx="286385" cy="286385"/>
          </a:xfrm>
        </p:grpSpPr>
        <p:sp>
          <p:nvSpPr>
            <p:cNvPr id="10" name="object 10"/>
            <p:cNvSpPr/>
            <p:nvPr/>
          </p:nvSpPr>
          <p:spPr>
            <a:xfrm>
              <a:off x="846283" y="3744586"/>
              <a:ext cx="281940" cy="281940"/>
            </a:xfrm>
            <a:custGeom>
              <a:avLst/>
              <a:gdLst/>
              <a:ahLst/>
              <a:cxnLst/>
              <a:rect l="l" t="t" r="r" b="b"/>
              <a:pathLst>
                <a:path w="281940" h="281939">
                  <a:moveTo>
                    <a:pt x="37056" y="244568"/>
                  </a:moveTo>
                  <a:lnTo>
                    <a:pt x="0" y="244568"/>
                  </a:lnTo>
                  <a:lnTo>
                    <a:pt x="0" y="281626"/>
                  </a:lnTo>
                  <a:lnTo>
                    <a:pt x="37056" y="281626"/>
                  </a:lnTo>
                  <a:lnTo>
                    <a:pt x="37056" y="274214"/>
                  </a:lnTo>
                  <a:lnTo>
                    <a:pt x="7411" y="274214"/>
                  </a:lnTo>
                  <a:lnTo>
                    <a:pt x="7411" y="251980"/>
                  </a:lnTo>
                  <a:lnTo>
                    <a:pt x="37056" y="251980"/>
                  </a:lnTo>
                  <a:lnTo>
                    <a:pt x="37056" y="244568"/>
                  </a:lnTo>
                  <a:close/>
                </a:path>
                <a:path w="281940" h="281939">
                  <a:moveTo>
                    <a:pt x="251984" y="266803"/>
                  </a:moveTo>
                  <a:lnTo>
                    <a:pt x="244573" y="266803"/>
                  </a:lnTo>
                  <a:lnTo>
                    <a:pt x="244573" y="281626"/>
                  </a:lnTo>
                  <a:lnTo>
                    <a:pt x="281629" y="281626"/>
                  </a:lnTo>
                  <a:lnTo>
                    <a:pt x="281629" y="274214"/>
                  </a:lnTo>
                  <a:lnTo>
                    <a:pt x="251984" y="274214"/>
                  </a:lnTo>
                  <a:lnTo>
                    <a:pt x="251984" y="266803"/>
                  </a:lnTo>
                  <a:close/>
                </a:path>
                <a:path w="281940" h="281939">
                  <a:moveTo>
                    <a:pt x="37056" y="251980"/>
                  </a:moveTo>
                  <a:lnTo>
                    <a:pt x="29645" y="251980"/>
                  </a:lnTo>
                  <a:lnTo>
                    <a:pt x="29645" y="274214"/>
                  </a:lnTo>
                  <a:lnTo>
                    <a:pt x="37056" y="274214"/>
                  </a:lnTo>
                  <a:lnTo>
                    <a:pt x="37056" y="266803"/>
                  </a:lnTo>
                  <a:lnTo>
                    <a:pt x="251984" y="266803"/>
                  </a:lnTo>
                  <a:lnTo>
                    <a:pt x="251984" y="259391"/>
                  </a:lnTo>
                  <a:lnTo>
                    <a:pt x="37056" y="259391"/>
                  </a:lnTo>
                  <a:lnTo>
                    <a:pt x="37056" y="251980"/>
                  </a:lnTo>
                  <a:close/>
                </a:path>
                <a:path w="281940" h="281939">
                  <a:moveTo>
                    <a:pt x="281629" y="251980"/>
                  </a:moveTo>
                  <a:lnTo>
                    <a:pt x="274218" y="251980"/>
                  </a:lnTo>
                  <a:lnTo>
                    <a:pt x="274218" y="274214"/>
                  </a:lnTo>
                  <a:lnTo>
                    <a:pt x="281629" y="274214"/>
                  </a:lnTo>
                  <a:lnTo>
                    <a:pt x="281629" y="251980"/>
                  </a:lnTo>
                  <a:close/>
                </a:path>
                <a:path w="281940" h="281939">
                  <a:moveTo>
                    <a:pt x="96347" y="192687"/>
                  </a:moveTo>
                  <a:lnTo>
                    <a:pt x="88935" y="192687"/>
                  </a:lnTo>
                  <a:lnTo>
                    <a:pt x="88935" y="259391"/>
                  </a:lnTo>
                  <a:lnTo>
                    <a:pt x="96347" y="259391"/>
                  </a:lnTo>
                  <a:lnTo>
                    <a:pt x="96347" y="192687"/>
                  </a:lnTo>
                  <a:close/>
                </a:path>
                <a:path w="281940" h="281939">
                  <a:moveTo>
                    <a:pt x="37056" y="0"/>
                  </a:moveTo>
                  <a:lnTo>
                    <a:pt x="0" y="0"/>
                  </a:lnTo>
                  <a:lnTo>
                    <a:pt x="0" y="37045"/>
                  </a:lnTo>
                  <a:lnTo>
                    <a:pt x="31819" y="37045"/>
                  </a:lnTo>
                  <a:lnTo>
                    <a:pt x="244573" y="249793"/>
                  </a:lnTo>
                  <a:lnTo>
                    <a:pt x="244573" y="259391"/>
                  </a:lnTo>
                  <a:lnTo>
                    <a:pt x="251984" y="259391"/>
                  </a:lnTo>
                  <a:lnTo>
                    <a:pt x="251984" y="251980"/>
                  </a:lnTo>
                  <a:lnTo>
                    <a:pt x="281629" y="251980"/>
                  </a:lnTo>
                  <a:lnTo>
                    <a:pt x="281629" y="244568"/>
                  </a:lnTo>
                  <a:lnTo>
                    <a:pt x="249828" y="244568"/>
                  </a:lnTo>
                  <a:lnTo>
                    <a:pt x="37056" y="31804"/>
                  </a:lnTo>
                  <a:lnTo>
                    <a:pt x="37056" y="29633"/>
                  </a:lnTo>
                  <a:lnTo>
                    <a:pt x="7411" y="29633"/>
                  </a:lnTo>
                  <a:lnTo>
                    <a:pt x="7411" y="7411"/>
                  </a:lnTo>
                  <a:lnTo>
                    <a:pt x="37056" y="7411"/>
                  </a:lnTo>
                  <a:lnTo>
                    <a:pt x="37056" y="0"/>
                  </a:lnTo>
                  <a:close/>
                </a:path>
                <a:path w="281940" h="281939">
                  <a:moveTo>
                    <a:pt x="22233" y="37045"/>
                  </a:moveTo>
                  <a:lnTo>
                    <a:pt x="14822" y="37045"/>
                  </a:lnTo>
                  <a:lnTo>
                    <a:pt x="14822" y="244568"/>
                  </a:lnTo>
                  <a:lnTo>
                    <a:pt x="22233" y="244568"/>
                  </a:lnTo>
                  <a:lnTo>
                    <a:pt x="22233" y="192687"/>
                  </a:lnTo>
                  <a:lnTo>
                    <a:pt x="96347" y="192687"/>
                  </a:lnTo>
                  <a:lnTo>
                    <a:pt x="96347" y="185276"/>
                  </a:lnTo>
                  <a:lnTo>
                    <a:pt x="22233" y="185276"/>
                  </a:lnTo>
                  <a:lnTo>
                    <a:pt x="22233" y="37045"/>
                  </a:lnTo>
                  <a:close/>
                </a:path>
                <a:path w="281940" h="281939">
                  <a:moveTo>
                    <a:pt x="37056" y="7411"/>
                  </a:moveTo>
                  <a:lnTo>
                    <a:pt x="29645" y="7411"/>
                  </a:lnTo>
                  <a:lnTo>
                    <a:pt x="29645" y="29633"/>
                  </a:lnTo>
                  <a:lnTo>
                    <a:pt x="37056" y="29633"/>
                  </a:lnTo>
                  <a:lnTo>
                    <a:pt x="37056" y="7411"/>
                  </a:lnTo>
                  <a:close/>
                </a:path>
              </a:pathLst>
            </a:custGeom>
            <a:solidFill>
              <a:srgbClr val="002C7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846283" y="3744586"/>
              <a:ext cx="281940" cy="281940"/>
            </a:xfrm>
            <a:custGeom>
              <a:avLst/>
              <a:gdLst/>
              <a:ahLst/>
              <a:cxnLst/>
              <a:rect l="l" t="t" r="r" b="b"/>
              <a:pathLst>
                <a:path w="281940" h="281939">
                  <a:moveTo>
                    <a:pt x="249828" y="244568"/>
                  </a:moveTo>
                  <a:lnTo>
                    <a:pt x="37056" y="31804"/>
                  </a:lnTo>
                  <a:lnTo>
                    <a:pt x="37056" y="0"/>
                  </a:lnTo>
                  <a:lnTo>
                    <a:pt x="0" y="0"/>
                  </a:lnTo>
                  <a:lnTo>
                    <a:pt x="0" y="37045"/>
                  </a:lnTo>
                  <a:lnTo>
                    <a:pt x="14822" y="37045"/>
                  </a:lnTo>
                  <a:lnTo>
                    <a:pt x="14822" y="244568"/>
                  </a:lnTo>
                  <a:lnTo>
                    <a:pt x="0" y="244568"/>
                  </a:lnTo>
                  <a:lnTo>
                    <a:pt x="0" y="281626"/>
                  </a:lnTo>
                  <a:lnTo>
                    <a:pt x="37056" y="281626"/>
                  </a:lnTo>
                  <a:lnTo>
                    <a:pt x="37056" y="266803"/>
                  </a:lnTo>
                  <a:lnTo>
                    <a:pt x="244573" y="266803"/>
                  </a:lnTo>
                  <a:lnTo>
                    <a:pt x="244573" y="281626"/>
                  </a:lnTo>
                  <a:lnTo>
                    <a:pt x="281629" y="281626"/>
                  </a:lnTo>
                  <a:lnTo>
                    <a:pt x="281629" y="244568"/>
                  </a:lnTo>
                  <a:lnTo>
                    <a:pt x="249828" y="244568"/>
                  </a:lnTo>
                  <a:close/>
                </a:path>
              </a:pathLst>
            </a:custGeom>
            <a:ln w="4323">
              <a:solidFill>
                <a:srgbClr val="002C77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2" name="object 12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851533" y="3749836"/>
              <a:ext cx="271130" cy="271126"/>
            </a:xfrm>
            <a:prstGeom prst="rect">
              <a:avLst/>
            </a:prstGeom>
          </p:spPr>
        </p:pic>
      </p:grpSp>
      <p:sp>
        <p:nvSpPr>
          <p:cNvPr id="19" name="object 19"/>
          <p:cNvSpPr txBox="1"/>
          <p:nvPr/>
        </p:nvSpPr>
        <p:spPr>
          <a:xfrm>
            <a:off x="7723885" y="496951"/>
            <a:ext cx="400494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76530" algn="ctr">
              <a:lnSpc>
                <a:spcPct val="100000"/>
              </a:lnSpc>
              <a:spcBef>
                <a:spcPts val="100"/>
              </a:spcBef>
            </a:pPr>
            <a:r>
              <a:rPr sz="1200" b="1" spc="-185" dirty="0">
                <a:solidFill>
                  <a:srgbClr val="FFFFFF"/>
                </a:solidFill>
                <a:latin typeface="Trebuchet MS"/>
                <a:cs typeface="Trebuchet MS"/>
              </a:rPr>
              <a:t>THE</a:t>
            </a:r>
            <a:r>
              <a:rPr sz="1200" b="1" spc="-90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200" b="1" spc="-100" dirty="0">
                <a:solidFill>
                  <a:srgbClr val="FFFFFF"/>
                </a:solidFill>
                <a:latin typeface="Trebuchet MS"/>
                <a:cs typeface="Trebuchet MS"/>
              </a:rPr>
              <a:t>BASIC</a:t>
            </a:r>
            <a:r>
              <a:rPr sz="1200" b="1" spc="-120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200" b="1" spc="-30" dirty="0">
                <a:solidFill>
                  <a:srgbClr val="FFFFFF"/>
                </a:solidFill>
                <a:latin typeface="Trebuchet MS"/>
                <a:cs typeface="Trebuchet MS"/>
              </a:rPr>
              <a:t>CONCEPTS</a:t>
            </a:r>
            <a:endParaRPr sz="1200">
              <a:latin typeface="Trebuchet MS"/>
              <a:cs typeface="Trebuchet MS"/>
            </a:endParaRPr>
          </a:p>
        </p:txBody>
      </p:sp>
      <p:grpSp>
        <p:nvGrpSpPr>
          <p:cNvPr id="20" name="object 20"/>
          <p:cNvGrpSpPr/>
          <p:nvPr/>
        </p:nvGrpSpPr>
        <p:grpSpPr>
          <a:xfrm>
            <a:off x="7763027" y="404445"/>
            <a:ext cx="415925" cy="415925"/>
            <a:chOff x="7763027" y="404445"/>
            <a:chExt cx="415925" cy="415925"/>
          </a:xfrm>
        </p:grpSpPr>
        <p:sp>
          <p:nvSpPr>
            <p:cNvPr id="21" name="object 21"/>
            <p:cNvSpPr/>
            <p:nvPr/>
          </p:nvSpPr>
          <p:spPr>
            <a:xfrm>
              <a:off x="7773426" y="414843"/>
              <a:ext cx="394970" cy="394970"/>
            </a:xfrm>
            <a:custGeom>
              <a:avLst/>
              <a:gdLst/>
              <a:ahLst/>
              <a:cxnLst/>
              <a:rect l="l" t="t" r="r" b="b"/>
              <a:pathLst>
                <a:path w="394970" h="394970">
                  <a:moveTo>
                    <a:pt x="197635" y="0"/>
                  </a:moveTo>
                  <a:lnTo>
                    <a:pt x="152140" y="5230"/>
                  </a:lnTo>
                  <a:lnTo>
                    <a:pt x="110580" y="20094"/>
                  </a:lnTo>
                  <a:lnTo>
                    <a:pt x="73926" y="43407"/>
                  </a:lnTo>
                  <a:lnTo>
                    <a:pt x="43358" y="73984"/>
                  </a:lnTo>
                  <a:lnTo>
                    <a:pt x="20059" y="110639"/>
                  </a:lnTo>
                  <a:lnTo>
                    <a:pt x="5213" y="152188"/>
                  </a:lnTo>
                  <a:lnTo>
                    <a:pt x="0" y="197446"/>
                  </a:lnTo>
                  <a:lnTo>
                    <a:pt x="5215" y="242724"/>
                  </a:lnTo>
                  <a:lnTo>
                    <a:pt x="20071" y="284287"/>
                  </a:lnTo>
                  <a:lnTo>
                    <a:pt x="43381" y="320951"/>
                  </a:lnTo>
                  <a:lnTo>
                    <a:pt x="73961" y="351531"/>
                  </a:lnTo>
                  <a:lnTo>
                    <a:pt x="110624" y="374841"/>
                  </a:lnTo>
                  <a:lnTo>
                    <a:pt x="152185" y="389696"/>
                  </a:lnTo>
                  <a:lnTo>
                    <a:pt x="197458" y="394911"/>
                  </a:lnTo>
                  <a:lnTo>
                    <a:pt x="242734" y="389696"/>
                  </a:lnTo>
                  <a:lnTo>
                    <a:pt x="257237" y="384513"/>
                  </a:lnTo>
                  <a:lnTo>
                    <a:pt x="197462" y="384512"/>
                  </a:lnTo>
                  <a:lnTo>
                    <a:pt x="147734" y="377830"/>
                  </a:lnTo>
                  <a:lnTo>
                    <a:pt x="103048" y="358972"/>
                  </a:lnTo>
                  <a:lnTo>
                    <a:pt x="65188" y="329722"/>
                  </a:lnTo>
                  <a:lnTo>
                    <a:pt x="35938" y="291862"/>
                  </a:lnTo>
                  <a:lnTo>
                    <a:pt x="17080" y="247176"/>
                  </a:lnTo>
                  <a:lnTo>
                    <a:pt x="10398" y="197446"/>
                  </a:lnTo>
                  <a:lnTo>
                    <a:pt x="17125" y="147742"/>
                  </a:lnTo>
                  <a:lnTo>
                    <a:pt x="36002" y="103077"/>
                  </a:lnTo>
                  <a:lnTo>
                    <a:pt x="65251" y="65231"/>
                  </a:lnTo>
                  <a:lnTo>
                    <a:pt x="103096" y="35983"/>
                  </a:lnTo>
                  <a:lnTo>
                    <a:pt x="147758" y="17113"/>
                  </a:lnTo>
                  <a:lnTo>
                    <a:pt x="197462" y="10398"/>
                  </a:lnTo>
                  <a:lnTo>
                    <a:pt x="257329" y="10398"/>
                  </a:lnTo>
                  <a:lnTo>
                    <a:pt x="242887" y="5230"/>
                  </a:lnTo>
                  <a:lnTo>
                    <a:pt x="197635" y="0"/>
                  </a:lnTo>
                  <a:close/>
                </a:path>
                <a:path w="394970" h="394970">
                  <a:moveTo>
                    <a:pt x="257329" y="10398"/>
                  </a:moveTo>
                  <a:lnTo>
                    <a:pt x="197462" y="10398"/>
                  </a:lnTo>
                  <a:lnTo>
                    <a:pt x="247439" y="17113"/>
                  </a:lnTo>
                  <a:lnTo>
                    <a:pt x="247268" y="17113"/>
                  </a:lnTo>
                  <a:lnTo>
                    <a:pt x="291936" y="35984"/>
                  </a:lnTo>
                  <a:lnTo>
                    <a:pt x="329769" y="65232"/>
                  </a:lnTo>
                  <a:lnTo>
                    <a:pt x="358996" y="103078"/>
                  </a:lnTo>
                  <a:lnTo>
                    <a:pt x="377839" y="147743"/>
                  </a:lnTo>
                  <a:lnTo>
                    <a:pt x="384517" y="197447"/>
                  </a:lnTo>
                  <a:lnTo>
                    <a:pt x="377835" y="247177"/>
                  </a:lnTo>
                  <a:lnTo>
                    <a:pt x="358979" y="291863"/>
                  </a:lnTo>
                  <a:lnTo>
                    <a:pt x="329730" y="329722"/>
                  </a:lnTo>
                  <a:lnTo>
                    <a:pt x="291872" y="358973"/>
                  </a:lnTo>
                  <a:lnTo>
                    <a:pt x="247188" y="377830"/>
                  </a:lnTo>
                  <a:lnTo>
                    <a:pt x="197462" y="384512"/>
                  </a:lnTo>
                  <a:lnTo>
                    <a:pt x="257237" y="384513"/>
                  </a:lnTo>
                  <a:lnTo>
                    <a:pt x="320959" y="351531"/>
                  </a:lnTo>
                  <a:lnTo>
                    <a:pt x="351537" y="320952"/>
                  </a:lnTo>
                  <a:lnTo>
                    <a:pt x="374846" y="284288"/>
                  </a:lnTo>
                  <a:lnTo>
                    <a:pt x="389701" y="242724"/>
                  </a:lnTo>
                  <a:lnTo>
                    <a:pt x="394916" y="197447"/>
                  </a:lnTo>
                  <a:lnTo>
                    <a:pt x="389721" y="152189"/>
                  </a:lnTo>
                  <a:lnTo>
                    <a:pt x="374891" y="110640"/>
                  </a:lnTo>
                  <a:lnTo>
                    <a:pt x="351609" y="73984"/>
                  </a:lnTo>
                  <a:lnTo>
                    <a:pt x="321058" y="43407"/>
                  </a:lnTo>
                  <a:lnTo>
                    <a:pt x="284423" y="20094"/>
                  </a:lnTo>
                  <a:lnTo>
                    <a:pt x="257329" y="1039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22"/>
            <p:cNvSpPr/>
            <p:nvPr/>
          </p:nvSpPr>
          <p:spPr>
            <a:xfrm>
              <a:off x="7773426" y="414843"/>
              <a:ext cx="394970" cy="394970"/>
            </a:xfrm>
            <a:custGeom>
              <a:avLst/>
              <a:gdLst/>
              <a:ahLst/>
              <a:cxnLst/>
              <a:rect l="l" t="t" r="r" b="b"/>
              <a:pathLst>
                <a:path w="394970" h="394970">
                  <a:moveTo>
                    <a:pt x="197462" y="10398"/>
                  </a:moveTo>
                  <a:lnTo>
                    <a:pt x="247188" y="17079"/>
                  </a:lnTo>
                  <a:lnTo>
                    <a:pt x="291871" y="35934"/>
                  </a:lnTo>
                  <a:lnTo>
                    <a:pt x="329729" y="65180"/>
                  </a:lnTo>
                  <a:lnTo>
                    <a:pt x="358978" y="103035"/>
                  </a:lnTo>
                  <a:lnTo>
                    <a:pt x="377835" y="147718"/>
                  </a:lnTo>
                  <a:lnTo>
                    <a:pt x="384517" y="197447"/>
                  </a:lnTo>
                  <a:lnTo>
                    <a:pt x="377835" y="247177"/>
                  </a:lnTo>
                  <a:lnTo>
                    <a:pt x="358979" y="291863"/>
                  </a:lnTo>
                  <a:lnTo>
                    <a:pt x="329730" y="329722"/>
                  </a:lnTo>
                  <a:lnTo>
                    <a:pt x="291872" y="358973"/>
                  </a:lnTo>
                  <a:lnTo>
                    <a:pt x="247188" y="377830"/>
                  </a:lnTo>
                  <a:lnTo>
                    <a:pt x="197462" y="384512"/>
                  </a:lnTo>
                  <a:lnTo>
                    <a:pt x="147734" y="377830"/>
                  </a:lnTo>
                  <a:lnTo>
                    <a:pt x="103048" y="358972"/>
                  </a:lnTo>
                  <a:lnTo>
                    <a:pt x="65188" y="329722"/>
                  </a:lnTo>
                  <a:lnTo>
                    <a:pt x="35938" y="291862"/>
                  </a:lnTo>
                  <a:lnTo>
                    <a:pt x="17080" y="247176"/>
                  </a:lnTo>
                  <a:lnTo>
                    <a:pt x="10398" y="197446"/>
                  </a:lnTo>
                  <a:lnTo>
                    <a:pt x="17125" y="147742"/>
                  </a:lnTo>
                  <a:lnTo>
                    <a:pt x="36002" y="103077"/>
                  </a:lnTo>
                  <a:lnTo>
                    <a:pt x="65251" y="65231"/>
                  </a:lnTo>
                  <a:lnTo>
                    <a:pt x="103096" y="35983"/>
                  </a:lnTo>
                  <a:lnTo>
                    <a:pt x="147758" y="17113"/>
                  </a:lnTo>
                  <a:lnTo>
                    <a:pt x="197462" y="10398"/>
                  </a:lnTo>
                </a:path>
                <a:path w="394970" h="394970">
                  <a:moveTo>
                    <a:pt x="197462" y="0"/>
                  </a:moveTo>
                  <a:lnTo>
                    <a:pt x="152185" y="5214"/>
                  </a:lnTo>
                  <a:lnTo>
                    <a:pt x="110623" y="20067"/>
                  </a:lnTo>
                  <a:lnTo>
                    <a:pt x="73959" y="43374"/>
                  </a:lnTo>
                  <a:lnTo>
                    <a:pt x="43379" y="73950"/>
                  </a:lnTo>
                  <a:lnTo>
                    <a:pt x="20070" y="110611"/>
                  </a:lnTo>
                  <a:lnTo>
                    <a:pt x="5215" y="152171"/>
                  </a:lnTo>
                  <a:lnTo>
                    <a:pt x="0" y="197446"/>
                  </a:lnTo>
                  <a:lnTo>
                    <a:pt x="5215" y="242723"/>
                  </a:lnTo>
                  <a:lnTo>
                    <a:pt x="20070" y="284286"/>
                  </a:lnTo>
                  <a:lnTo>
                    <a:pt x="43379" y="320950"/>
                  </a:lnTo>
                  <a:lnTo>
                    <a:pt x="73959" y="351530"/>
                  </a:lnTo>
                  <a:lnTo>
                    <a:pt x="110621" y="374840"/>
                  </a:lnTo>
                  <a:lnTo>
                    <a:pt x="152183" y="389696"/>
                  </a:lnTo>
                  <a:lnTo>
                    <a:pt x="197458" y="394911"/>
                  </a:lnTo>
                  <a:lnTo>
                    <a:pt x="242734" y="389696"/>
                  </a:lnTo>
                  <a:lnTo>
                    <a:pt x="284296" y="374841"/>
                  </a:lnTo>
                  <a:lnTo>
                    <a:pt x="320959" y="351531"/>
                  </a:lnTo>
                  <a:lnTo>
                    <a:pt x="351537" y="320952"/>
                  </a:lnTo>
                  <a:lnTo>
                    <a:pt x="374846" y="284288"/>
                  </a:lnTo>
                  <a:lnTo>
                    <a:pt x="389701" y="242724"/>
                  </a:lnTo>
                  <a:lnTo>
                    <a:pt x="394916" y="197447"/>
                  </a:lnTo>
                  <a:lnTo>
                    <a:pt x="389721" y="152189"/>
                  </a:lnTo>
                  <a:lnTo>
                    <a:pt x="374891" y="110640"/>
                  </a:lnTo>
                  <a:lnTo>
                    <a:pt x="351609" y="73984"/>
                  </a:lnTo>
                  <a:lnTo>
                    <a:pt x="321058" y="43407"/>
                  </a:lnTo>
                  <a:lnTo>
                    <a:pt x="284423" y="20094"/>
                  </a:lnTo>
                  <a:lnTo>
                    <a:pt x="242887" y="5230"/>
                  </a:lnTo>
                  <a:lnTo>
                    <a:pt x="197635" y="0"/>
                  </a:lnTo>
                  <a:lnTo>
                    <a:pt x="197462" y="0"/>
                  </a:lnTo>
                  <a:close/>
                </a:path>
              </a:pathLst>
            </a:custGeom>
            <a:ln w="2079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3" name="object 23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7920539" y="508240"/>
              <a:ext cx="74551" cy="195925"/>
            </a:xfrm>
            <a:prstGeom prst="rect">
              <a:avLst/>
            </a:prstGeom>
          </p:spPr>
        </p:pic>
      </p:grpSp>
      <p:sp>
        <p:nvSpPr>
          <p:cNvPr id="26" name="object 26"/>
          <p:cNvSpPr txBox="1"/>
          <p:nvPr/>
        </p:nvSpPr>
        <p:spPr>
          <a:xfrm>
            <a:off x="12133453" y="6612204"/>
            <a:ext cx="109220" cy="63500"/>
          </a:xfrm>
          <a:prstGeom prst="rect">
            <a:avLst/>
          </a:prstGeom>
        </p:spPr>
        <p:txBody>
          <a:bodyPr vert="horz" wrap="square" lIns="0" tIns="3175" rIns="0" bIns="0" rtlCol="0">
            <a:spAutoFit/>
          </a:bodyPr>
          <a:lstStyle/>
          <a:p>
            <a:pPr marL="17780">
              <a:lnSpc>
                <a:spcPct val="100000"/>
              </a:lnSpc>
              <a:spcBef>
                <a:spcPts val="25"/>
              </a:spcBef>
            </a:pPr>
            <a:fld id="{81D60167-4931-47E6-BA6A-407CBD079E47}" type="slidenum">
              <a:rPr sz="300" spc="-25" dirty="0">
                <a:latin typeface="Calibri"/>
                <a:cs typeface="Calibri"/>
              </a:rPr>
              <a:t>7</a:t>
            </a:fld>
            <a:endParaRPr sz="3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244" y="4033011"/>
            <a:ext cx="1393190" cy="935990"/>
          </a:xfrm>
          <a:custGeom>
            <a:avLst/>
            <a:gdLst/>
            <a:ahLst/>
            <a:cxnLst/>
            <a:rect l="l" t="t" r="r" b="b"/>
            <a:pathLst>
              <a:path w="1393190" h="935989">
                <a:moveTo>
                  <a:pt x="1201673" y="452246"/>
                </a:moveTo>
                <a:lnTo>
                  <a:pt x="0" y="452246"/>
                </a:lnTo>
              </a:path>
              <a:path w="1393190" h="935989">
                <a:moveTo>
                  <a:pt x="1393088" y="935863"/>
                </a:moveTo>
                <a:lnTo>
                  <a:pt x="1362075" y="896883"/>
                </a:lnTo>
                <a:lnTo>
                  <a:pt x="1334018" y="856390"/>
                </a:lnTo>
                <a:lnTo>
                  <a:pt x="1308920" y="814535"/>
                </a:lnTo>
                <a:lnTo>
                  <a:pt x="1286785" y="771468"/>
                </a:lnTo>
                <a:lnTo>
                  <a:pt x="1267617" y="727341"/>
                </a:lnTo>
                <a:lnTo>
                  <a:pt x="1251420" y="682302"/>
                </a:lnTo>
                <a:lnTo>
                  <a:pt x="1238199" y="636505"/>
                </a:lnTo>
                <a:lnTo>
                  <a:pt x="1227958" y="590098"/>
                </a:lnTo>
                <a:lnTo>
                  <a:pt x="1220700" y="543234"/>
                </a:lnTo>
                <a:lnTo>
                  <a:pt x="1216430" y="496062"/>
                </a:lnTo>
                <a:lnTo>
                  <a:pt x="1215151" y="448733"/>
                </a:lnTo>
                <a:lnTo>
                  <a:pt x="1216869" y="401399"/>
                </a:lnTo>
                <a:lnTo>
                  <a:pt x="1221586" y="354210"/>
                </a:lnTo>
                <a:lnTo>
                  <a:pt x="1229307" y="307316"/>
                </a:lnTo>
                <a:lnTo>
                  <a:pt x="1240037" y="260869"/>
                </a:lnTo>
                <a:lnTo>
                  <a:pt x="1253779" y="215018"/>
                </a:lnTo>
                <a:lnTo>
                  <a:pt x="1270537" y="169916"/>
                </a:lnTo>
                <a:lnTo>
                  <a:pt x="1290316" y="125712"/>
                </a:lnTo>
                <a:lnTo>
                  <a:pt x="1313119" y="82558"/>
                </a:lnTo>
                <a:lnTo>
                  <a:pt x="1338950" y="40603"/>
                </a:lnTo>
                <a:lnTo>
                  <a:pt x="1367815" y="0"/>
                </a:lnTo>
              </a:path>
            </a:pathLst>
          </a:custGeom>
          <a:ln w="1905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2531236" y="4033011"/>
            <a:ext cx="934085" cy="935990"/>
          </a:xfrm>
          <a:custGeom>
            <a:avLst/>
            <a:gdLst/>
            <a:ahLst/>
            <a:cxnLst/>
            <a:rect l="l" t="t" r="r" b="b"/>
            <a:pathLst>
              <a:path w="934085" h="935989">
                <a:moveTo>
                  <a:pt x="749426" y="452246"/>
                </a:moveTo>
                <a:lnTo>
                  <a:pt x="184150" y="452246"/>
                </a:lnTo>
              </a:path>
              <a:path w="934085" h="935989">
                <a:moveTo>
                  <a:pt x="0" y="935863"/>
                </a:moveTo>
                <a:lnTo>
                  <a:pt x="31017" y="896883"/>
                </a:lnTo>
                <a:lnTo>
                  <a:pt x="59079" y="856390"/>
                </a:lnTo>
                <a:lnTo>
                  <a:pt x="84182" y="814535"/>
                </a:lnTo>
                <a:lnTo>
                  <a:pt x="106321" y="771468"/>
                </a:lnTo>
                <a:lnTo>
                  <a:pt x="125493" y="727341"/>
                </a:lnTo>
                <a:lnTo>
                  <a:pt x="141692" y="682302"/>
                </a:lnTo>
                <a:lnTo>
                  <a:pt x="154916" y="636505"/>
                </a:lnTo>
                <a:lnTo>
                  <a:pt x="165160" y="590098"/>
                </a:lnTo>
                <a:lnTo>
                  <a:pt x="172419" y="543234"/>
                </a:lnTo>
                <a:lnTo>
                  <a:pt x="176690" y="496062"/>
                </a:lnTo>
                <a:lnTo>
                  <a:pt x="177969" y="448733"/>
                </a:lnTo>
                <a:lnTo>
                  <a:pt x="176252" y="401399"/>
                </a:lnTo>
                <a:lnTo>
                  <a:pt x="171534" y="354210"/>
                </a:lnTo>
                <a:lnTo>
                  <a:pt x="163811" y="307316"/>
                </a:lnTo>
                <a:lnTo>
                  <a:pt x="153079" y="260869"/>
                </a:lnTo>
                <a:lnTo>
                  <a:pt x="139334" y="215018"/>
                </a:lnTo>
                <a:lnTo>
                  <a:pt x="122572" y="169916"/>
                </a:lnTo>
                <a:lnTo>
                  <a:pt x="102790" y="125712"/>
                </a:lnTo>
                <a:lnTo>
                  <a:pt x="79981" y="82558"/>
                </a:lnTo>
                <a:lnTo>
                  <a:pt x="54144" y="40603"/>
                </a:lnTo>
                <a:lnTo>
                  <a:pt x="25273" y="0"/>
                </a:lnTo>
              </a:path>
              <a:path w="934085" h="935989">
                <a:moveTo>
                  <a:pt x="933576" y="935863"/>
                </a:moveTo>
                <a:lnTo>
                  <a:pt x="902576" y="896883"/>
                </a:lnTo>
                <a:lnTo>
                  <a:pt x="874530" y="856390"/>
                </a:lnTo>
                <a:lnTo>
                  <a:pt x="849441" y="814535"/>
                </a:lnTo>
                <a:lnTo>
                  <a:pt x="827314" y="771468"/>
                </a:lnTo>
                <a:lnTo>
                  <a:pt x="808153" y="727341"/>
                </a:lnTo>
                <a:lnTo>
                  <a:pt x="791962" y="682302"/>
                </a:lnTo>
                <a:lnTo>
                  <a:pt x="778745" y="636505"/>
                </a:lnTo>
                <a:lnTo>
                  <a:pt x="768506" y="590098"/>
                </a:lnTo>
                <a:lnTo>
                  <a:pt x="761250" y="543234"/>
                </a:lnTo>
                <a:lnTo>
                  <a:pt x="756981" y="496062"/>
                </a:lnTo>
                <a:lnTo>
                  <a:pt x="755702" y="448733"/>
                </a:lnTo>
                <a:lnTo>
                  <a:pt x="757418" y="401399"/>
                </a:lnTo>
                <a:lnTo>
                  <a:pt x="762132" y="354210"/>
                </a:lnTo>
                <a:lnTo>
                  <a:pt x="769850" y="307316"/>
                </a:lnTo>
                <a:lnTo>
                  <a:pt x="780575" y="260869"/>
                </a:lnTo>
                <a:lnTo>
                  <a:pt x="794311" y="215018"/>
                </a:lnTo>
                <a:lnTo>
                  <a:pt x="811062" y="169916"/>
                </a:lnTo>
                <a:lnTo>
                  <a:pt x="830833" y="125712"/>
                </a:lnTo>
                <a:lnTo>
                  <a:pt x="853628" y="82558"/>
                </a:lnTo>
                <a:lnTo>
                  <a:pt x="879450" y="40603"/>
                </a:lnTo>
                <a:lnTo>
                  <a:pt x="908303" y="0"/>
                </a:lnTo>
              </a:path>
            </a:pathLst>
          </a:custGeom>
          <a:ln w="1905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4601845" y="4033011"/>
            <a:ext cx="934085" cy="935990"/>
          </a:xfrm>
          <a:custGeom>
            <a:avLst/>
            <a:gdLst/>
            <a:ahLst/>
            <a:cxnLst/>
            <a:rect l="l" t="t" r="r" b="b"/>
            <a:pathLst>
              <a:path w="934085" h="935989">
                <a:moveTo>
                  <a:pt x="749426" y="452246"/>
                </a:moveTo>
                <a:lnTo>
                  <a:pt x="184022" y="452246"/>
                </a:lnTo>
              </a:path>
              <a:path w="934085" h="935989">
                <a:moveTo>
                  <a:pt x="0" y="935863"/>
                </a:moveTo>
                <a:lnTo>
                  <a:pt x="31000" y="896883"/>
                </a:lnTo>
                <a:lnTo>
                  <a:pt x="59046" y="856390"/>
                </a:lnTo>
                <a:lnTo>
                  <a:pt x="84135" y="814535"/>
                </a:lnTo>
                <a:lnTo>
                  <a:pt x="106262" y="771468"/>
                </a:lnTo>
                <a:lnTo>
                  <a:pt x="125423" y="727341"/>
                </a:lnTo>
                <a:lnTo>
                  <a:pt x="141614" y="682302"/>
                </a:lnTo>
                <a:lnTo>
                  <a:pt x="154831" y="636505"/>
                </a:lnTo>
                <a:lnTo>
                  <a:pt x="165070" y="590098"/>
                </a:lnTo>
                <a:lnTo>
                  <a:pt x="172326" y="543234"/>
                </a:lnTo>
                <a:lnTo>
                  <a:pt x="176595" y="496062"/>
                </a:lnTo>
                <a:lnTo>
                  <a:pt x="177874" y="448733"/>
                </a:lnTo>
                <a:lnTo>
                  <a:pt x="176158" y="401399"/>
                </a:lnTo>
                <a:lnTo>
                  <a:pt x="171444" y="354210"/>
                </a:lnTo>
                <a:lnTo>
                  <a:pt x="163726" y="307316"/>
                </a:lnTo>
                <a:lnTo>
                  <a:pt x="153001" y="260869"/>
                </a:lnTo>
                <a:lnTo>
                  <a:pt x="139265" y="215018"/>
                </a:lnTo>
                <a:lnTo>
                  <a:pt x="122514" y="169916"/>
                </a:lnTo>
                <a:lnTo>
                  <a:pt x="102743" y="125712"/>
                </a:lnTo>
                <a:lnTo>
                  <a:pt x="79948" y="82558"/>
                </a:lnTo>
                <a:lnTo>
                  <a:pt x="54126" y="40603"/>
                </a:lnTo>
                <a:lnTo>
                  <a:pt x="25272" y="0"/>
                </a:lnTo>
              </a:path>
              <a:path w="934085" h="935989">
                <a:moveTo>
                  <a:pt x="933576" y="935863"/>
                </a:moveTo>
                <a:lnTo>
                  <a:pt x="902560" y="896883"/>
                </a:lnTo>
                <a:lnTo>
                  <a:pt x="874500" y="856390"/>
                </a:lnTo>
                <a:lnTo>
                  <a:pt x="849401" y="814535"/>
                </a:lnTo>
                <a:lnTo>
                  <a:pt x="827266" y="771468"/>
                </a:lnTo>
                <a:lnTo>
                  <a:pt x="808100" y="727341"/>
                </a:lnTo>
                <a:lnTo>
                  <a:pt x="791906" y="682302"/>
                </a:lnTo>
                <a:lnTo>
                  <a:pt x="778688" y="636505"/>
                </a:lnTo>
                <a:lnTo>
                  <a:pt x="768451" y="590098"/>
                </a:lnTo>
                <a:lnTo>
                  <a:pt x="761197" y="543234"/>
                </a:lnTo>
                <a:lnTo>
                  <a:pt x="756931" y="496062"/>
                </a:lnTo>
                <a:lnTo>
                  <a:pt x="755656" y="448733"/>
                </a:lnTo>
                <a:lnTo>
                  <a:pt x="757378" y="401399"/>
                </a:lnTo>
                <a:lnTo>
                  <a:pt x="762098" y="354210"/>
                </a:lnTo>
                <a:lnTo>
                  <a:pt x="769822" y="307316"/>
                </a:lnTo>
                <a:lnTo>
                  <a:pt x="780553" y="260869"/>
                </a:lnTo>
                <a:lnTo>
                  <a:pt x="794294" y="215018"/>
                </a:lnTo>
                <a:lnTo>
                  <a:pt x="811051" y="169916"/>
                </a:lnTo>
                <a:lnTo>
                  <a:pt x="830826" y="125712"/>
                </a:lnTo>
                <a:lnTo>
                  <a:pt x="853624" y="82558"/>
                </a:lnTo>
                <a:lnTo>
                  <a:pt x="879449" y="40603"/>
                </a:lnTo>
                <a:lnTo>
                  <a:pt x="908303" y="0"/>
                </a:lnTo>
              </a:path>
            </a:pathLst>
          </a:custGeom>
          <a:ln w="1905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6672326" y="4033011"/>
            <a:ext cx="934085" cy="935990"/>
          </a:xfrm>
          <a:custGeom>
            <a:avLst/>
            <a:gdLst/>
            <a:ahLst/>
            <a:cxnLst/>
            <a:rect l="l" t="t" r="r" b="b"/>
            <a:pathLst>
              <a:path w="934084" h="935989">
                <a:moveTo>
                  <a:pt x="749553" y="452246"/>
                </a:moveTo>
                <a:lnTo>
                  <a:pt x="184150" y="452246"/>
                </a:lnTo>
              </a:path>
              <a:path w="934084" h="935989">
                <a:moveTo>
                  <a:pt x="0" y="935863"/>
                </a:moveTo>
                <a:lnTo>
                  <a:pt x="31017" y="896883"/>
                </a:lnTo>
                <a:lnTo>
                  <a:pt x="59079" y="856390"/>
                </a:lnTo>
                <a:lnTo>
                  <a:pt x="84182" y="814535"/>
                </a:lnTo>
                <a:lnTo>
                  <a:pt x="106322" y="771468"/>
                </a:lnTo>
                <a:lnTo>
                  <a:pt x="125494" y="727341"/>
                </a:lnTo>
                <a:lnTo>
                  <a:pt x="141695" y="682302"/>
                </a:lnTo>
                <a:lnTo>
                  <a:pt x="154921" y="636505"/>
                </a:lnTo>
                <a:lnTo>
                  <a:pt x="165167" y="590098"/>
                </a:lnTo>
                <a:lnTo>
                  <a:pt x="172429" y="543234"/>
                </a:lnTo>
                <a:lnTo>
                  <a:pt x="176704" y="496062"/>
                </a:lnTo>
                <a:lnTo>
                  <a:pt x="177988" y="448733"/>
                </a:lnTo>
                <a:lnTo>
                  <a:pt x="176276" y="401399"/>
                </a:lnTo>
                <a:lnTo>
                  <a:pt x="171564" y="354210"/>
                </a:lnTo>
                <a:lnTo>
                  <a:pt x="163848" y="307316"/>
                </a:lnTo>
                <a:lnTo>
                  <a:pt x="153125" y="260869"/>
                </a:lnTo>
                <a:lnTo>
                  <a:pt x="139390" y="215018"/>
                </a:lnTo>
                <a:lnTo>
                  <a:pt x="122640" y="169916"/>
                </a:lnTo>
                <a:lnTo>
                  <a:pt x="102870" y="125712"/>
                </a:lnTo>
                <a:lnTo>
                  <a:pt x="80075" y="82558"/>
                </a:lnTo>
                <a:lnTo>
                  <a:pt x="54253" y="40603"/>
                </a:lnTo>
                <a:lnTo>
                  <a:pt x="25400" y="0"/>
                </a:lnTo>
              </a:path>
              <a:path w="934084" h="935989">
                <a:moveTo>
                  <a:pt x="933576" y="935863"/>
                </a:moveTo>
                <a:lnTo>
                  <a:pt x="902576" y="896883"/>
                </a:lnTo>
                <a:lnTo>
                  <a:pt x="874530" y="856390"/>
                </a:lnTo>
                <a:lnTo>
                  <a:pt x="849441" y="814535"/>
                </a:lnTo>
                <a:lnTo>
                  <a:pt x="827314" y="771468"/>
                </a:lnTo>
                <a:lnTo>
                  <a:pt x="808153" y="727341"/>
                </a:lnTo>
                <a:lnTo>
                  <a:pt x="791962" y="682302"/>
                </a:lnTo>
                <a:lnTo>
                  <a:pt x="778745" y="636505"/>
                </a:lnTo>
                <a:lnTo>
                  <a:pt x="768506" y="590098"/>
                </a:lnTo>
                <a:lnTo>
                  <a:pt x="761250" y="543234"/>
                </a:lnTo>
                <a:lnTo>
                  <a:pt x="756981" y="496062"/>
                </a:lnTo>
                <a:lnTo>
                  <a:pt x="755702" y="448733"/>
                </a:lnTo>
                <a:lnTo>
                  <a:pt x="757418" y="401399"/>
                </a:lnTo>
                <a:lnTo>
                  <a:pt x="762132" y="354210"/>
                </a:lnTo>
                <a:lnTo>
                  <a:pt x="769850" y="307316"/>
                </a:lnTo>
                <a:lnTo>
                  <a:pt x="780575" y="260869"/>
                </a:lnTo>
                <a:lnTo>
                  <a:pt x="794311" y="215018"/>
                </a:lnTo>
                <a:lnTo>
                  <a:pt x="811062" y="169916"/>
                </a:lnTo>
                <a:lnTo>
                  <a:pt x="830833" y="125712"/>
                </a:lnTo>
                <a:lnTo>
                  <a:pt x="853628" y="82558"/>
                </a:lnTo>
                <a:lnTo>
                  <a:pt x="879450" y="40603"/>
                </a:lnTo>
                <a:lnTo>
                  <a:pt x="908303" y="0"/>
                </a:lnTo>
              </a:path>
            </a:pathLst>
          </a:custGeom>
          <a:ln w="1905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8742933" y="4033011"/>
            <a:ext cx="934085" cy="935990"/>
          </a:xfrm>
          <a:custGeom>
            <a:avLst/>
            <a:gdLst/>
            <a:ahLst/>
            <a:cxnLst/>
            <a:rect l="l" t="t" r="r" b="b"/>
            <a:pathLst>
              <a:path w="934084" h="935989">
                <a:moveTo>
                  <a:pt x="749426" y="452246"/>
                </a:moveTo>
                <a:lnTo>
                  <a:pt x="184150" y="452246"/>
                </a:lnTo>
              </a:path>
              <a:path w="934084" h="935989">
                <a:moveTo>
                  <a:pt x="0" y="935863"/>
                </a:moveTo>
                <a:lnTo>
                  <a:pt x="31016" y="896883"/>
                </a:lnTo>
                <a:lnTo>
                  <a:pt x="59076" y="856390"/>
                </a:lnTo>
                <a:lnTo>
                  <a:pt x="84175" y="814535"/>
                </a:lnTo>
                <a:lnTo>
                  <a:pt x="106310" y="771468"/>
                </a:lnTo>
                <a:lnTo>
                  <a:pt x="125476" y="727341"/>
                </a:lnTo>
                <a:lnTo>
                  <a:pt x="141670" y="682302"/>
                </a:lnTo>
                <a:lnTo>
                  <a:pt x="154888" y="636505"/>
                </a:lnTo>
                <a:lnTo>
                  <a:pt x="165125" y="590098"/>
                </a:lnTo>
                <a:lnTo>
                  <a:pt x="172379" y="543234"/>
                </a:lnTo>
                <a:lnTo>
                  <a:pt x="176645" y="496062"/>
                </a:lnTo>
                <a:lnTo>
                  <a:pt x="177920" y="448733"/>
                </a:lnTo>
                <a:lnTo>
                  <a:pt x="176198" y="401399"/>
                </a:lnTo>
                <a:lnTo>
                  <a:pt x="171478" y="354210"/>
                </a:lnTo>
                <a:lnTo>
                  <a:pt x="163754" y="307316"/>
                </a:lnTo>
                <a:lnTo>
                  <a:pt x="153023" y="260869"/>
                </a:lnTo>
                <a:lnTo>
                  <a:pt x="139282" y="215018"/>
                </a:lnTo>
                <a:lnTo>
                  <a:pt x="122525" y="169916"/>
                </a:lnTo>
                <a:lnTo>
                  <a:pt x="102750" y="125712"/>
                </a:lnTo>
                <a:lnTo>
                  <a:pt x="79952" y="82558"/>
                </a:lnTo>
                <a:lnTo>
                  <a:pt x="54127" y="40603"/>
                </a:lnTo>
                <a:lnTo>
                  <a:pt x="25273" y="0"/>
                </a:lnTo>
              </a:path>
              <a:path w="934084" h="935989">
                <a:moveTo>
                  <a:pt x="933576" y="935863"/>
                </a:moveTo>
                <a:lnTo>
                  <a:pt x="902576" y="896883"/>
                </a:lnTo>
                <a:lnTo>
                  <a:pt x="874530" y="856390"/>
                </a:lnTo>
                <a:lnTo>
                  <a:pt x="849441" y="814535"/>
                </a:lnTo>
                <a:lnTo>
                  <a:pt x="827314" y="771468"/>
                </a:lnTo>
                <a:lnTo>
                  <a:pt x="808153" y="727341"/>
                </a:lnTo>
                <a:lnTo>
                  <a:pt x="791962" y="682302"/>
                </a:lnTo>
                <a:lnTo>
                  <a:pt x="778745" y="636505"/>
                </a:lnTo>
                <a:lnTo>
                  <a:pt x="768506" y="590098"/>
                </a:lnTo>
                <a:lnTo>
                  <a:pt x="761250" y="543234"/>
                </a:lnTo>
                <a:lnTo>
                  <a:pt x="756981" y="496062"/>
                </a:lnTo>
                <a:lnTo>
                  <a:pt x="755702" y="448733"/>
                </a:lnTo>
                <a:lnTo>
                  <a:pt x="757418" y="401399"/>
                </a:lnTo>
                <a:lnTo>
                  <a:pt x="762132" y="354210"/>
                </a:lnTo>
                <a:lnTo>
                  <a:pt x="769850" y="307316"/>
                </a:lnTo>
                <a:lnTo>
                  <a:pt x="780575" y="260869"/>
                </a:lnTo>
                <a:lnTo>
                  <a:pt x="794311" y="215018"/>
                </a:lnTo>
                <a:lnTo>
                  <a:pt x="811062" y="169916"/>
                </a:lnTo>
                <a:lnTo>
                  <a:pt x="830833" y="125712"/>
                </a:lnTo>
                <a:lnTo>
                  <a:pt x="853628" y="82558"/>
                </a:lnTo>
                <a:lnTo>
                  <a:pt x="879450" y="40603"/>
                </a:lnTo>
                <a:lnTo>
                  <a:pt x="908304" y="0"/>
                </a:lnTo>
              </a:path>
            </a:pathLst>
          </a:custGeom>
          <a:ln w="1905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10813542" y="4033011"/>
            <a:ext cx="1379855" cy="935990"/>
          </a:xfrm>
          <a:custGeom>
            <a:avLst/>
            <a:gdLst/>
            <a:ahLst/>
            <a:cxnLst/>
            <a:rect l="l" t="t" r="r" b="b"/>
            <a:pathLst>
              <a:path w="1379854" h="935989">
                <a:moveTo>
                  <a:pt x="1379727" y="452246"/>
                </a:moveTo>
                <a:lnTo>
                  <a:pt x="178053" y="452246"/>
                </a:lnTo>
              </a:path>
              <a:path w="1379854" h="935989">
                <a:moveTo>
                  <a:pt x="0" y="935863"/>
                </a:moveTo>
                <a:lnTo>
                  <a:pt x="31000" y="896883"/>
                </a:lnTo>
                <a:lnTo>
                  <a:pt x="59046" y="856390"/>
                </a:lnTo>
                <a:lnTo>
                  <a:pt x="84135" y="814535"/>
                </a:lnTo>
                <a:lnTo>
                  <a:pt x="106262" y="771468"/>
                </a:lnTo>
                <a:lnTo>
                  <a:pt x="125423" y="727341"/>
                </a:lnTo>
                <a:lnTo>
                  <a:pt x="141614" y="682302"/>
                </a:lnTo>
                <a:lnTo>
                  <a:pt x="154831" y="636505"/>
                </a:lnTo>
                <a:lnTo>
                  <a:pt x="165070" y="590098"/>
                </a:lnTo>
                <a:lnTo>
                  <a:pt x="172326" y="543234"/>
                </a:lnTo>
                <a:lnTo>
                  <a:pt x="176595" y="496062"/>
                </a:lnTo>
                <a:lnTo>
                  <a:pt x="177874" y="448733"/>
                </a:lnTo>
                <a:lnTo>
                  <a:pt x="176158" y="401399"/>
                </a:lnTo>
                <a:lnTo>
                  <a:pt x="171444" y="354210"/>
                </a:lnTo>
                <a:lnTo>
                  <a:pt x="163726" y="307316"/>
                </a:lnTo>
                <a:lnTo>
                  <a:pt x="153001" y="260869"/>
                </a:lnTo>
                <a:lnTo>
                  <a:pt x="139265" y="215018"/>
                </a:lnTo>
                <a:lnTo>
                  <a:pt x="122514" y="169916"/>
                </a:lnTo>
                <a:lnTo>
                  <a:pt x="102743" y="125712"/>
                </a:lnTo>
                <a:lnTo>
                  <a:pt x="79948" y="82558"/>
                </a:lnTo>
                <a:lnTo>
                  <a:pt x="54126" y="40603"/>
                </a:lnTo>
                <a:lnTo>
                  <a:pt x="25273" y="0"/>
                </a:lnTo>
              </a:path>
            </a:pathLst>
          </a:custGeom>
          <a:ln w="1905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4548632" y="2386076"/>
            <a:ext cx="3019425" cy="103505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1085215">
              <a:lnSpc>
                <a:spcPct val="100000"/>
              </a:lnSpc>
              <a:spcBef>
                <a:spcPts val="105"/>
              </a:spcBef>
            </a:pPr>
            <a:r>
              <a:rPr sz="1400" b="1" spc="-10" dirty="0">
                <a:latin typeface="Calibri"/>
                <a:cs typeface="Calibri"/>
              </a:rPr>
              <a:t>Generation</a:t>
            </a:r>
            <a:r>
              <a:rPr sz="1400" b="1" spc="-55" dirty="0">
                <a:latin typeface="Calibri"/>
                <a:cs typeface="Calibri"/>
              </a:rPr>
              <a:t> </a:t>
            </a:r>
            <a:r>
              <a:rPr sz="1400" b="1" dirty="0">
                <a:latin typeface="Calibri"/>
                <a:cs typeface="Calibri"/>
              </a:rPr>
              <a:t>of</a:t>
            </a:r>
            <a:r>
              <a:rPr sz="1400" b="1" spc="-30" dirty="0">
                <a:latin typeface="Calibri"/>
                <a:cs typeface="Calibri"/>
              </a:rPr>
              <a:t> </a:t>
            </a:r>
            <a:r>
              <a:rPr sz="1400" b="1" dirty="0">
                <a:latin typeface="Calibri"/>
                <a:cs typeface="Calibri"/>
              </a:rPr>
              <a:t>reports</a:t>
            </a:r>
            <a:r>
              <a:rPr sz="1400" b="1" spc="-45" dirty="0">
                <a:latin typeface="Calibri"/>
                <a:cs typeface="Calibri"/>
              </a:rPr>
              <a:t> </a:t>
            </a:r>
            <a:r>
              <a:rPr sz="1400" b="1" spc="-25" dirty="0">
                <a:latin typeface="Calibri"/>
                <a:cs typeface="Calibri"/>
              </a:rPr>
              <a:t>and </a:t>
            </a:r>
            <a:r>
              <a:rPr sz="1400" b="1" spc="-10" dirty="0">
                <a:latin typeface="Calibri"/>
                <a:cs typeface="Calibri"/>
              </a:rPr>
              <a:t>documentation</a:t>
            </a:r>
            <a:endParaRPr sz="1400">
              <a:latin typeface="Calibri"/>
              <a:cs typeface="Calibri"/>
            </a:endParaRPr>
          </a:p>
          <a:p>
            <a:pPr marL="12700" marR="5080">
              <a:lnSpc>
                <a:spcPct val="100000"/>
              </a:lnSpc>
              <a:spcBef>
                <a:spcPts val="620"/>
              </a:spcBef>
            </a:pPr>
            <a:r>
              <a:rPr sz="1100" dirty="0">
                <a:latin typeface="Calibri"/>
                <a:cs typeface="Calibri"/>
              </a:rPr>
              <a:t>Support</a:t>
            </a:r>
            <a:r>
              <a:rPr sz="1100" spc="-2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to</a:t>
            </a:r>
            <a:r>
              <a:rPr sz="1100" spc="-1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the</a:t>
            </a:r>
            <a:r>
              <a:rPr sz="1100" spc="-20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process</a:t>
            </a:r>
            <a:r>
              <a:rPr sz="1100" spc="-2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of</a:t>
            </a:r>
            <a:r>
              <a:rPr sz="1100" spc="-2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document,</a:t>
            </a:r>
            <a:r>
              <a:rPr sz="1100" spc="-4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contract</a:t>
            </a:r>
            <a:r>
              <a:rPr sz="1100" spc="-30" dirty="0">
                <a:latin typeface="Calibri"/>
                <a:cs typeface="Calibri"/>
              </a:rPr>
              <a:t> </a:t>
            </a:r>
            <a:r>
              <a:rPr sz="1100" spc="-25" dirty="0">
                <a:latin typeface="Calibri"/>
                <a:cs typeface="Calibri"/>
              </a:rPr>
              <a:t>or </a:t>
            </a:r>
            <a:r>
              <a:rPr sz="1100" dirty="0">
                <a:latin typeface="Calibri"/>
                <a:cs typeface="Calibri"/>
              </a:rPr>
              <a:t>report</a:t>
            </a:r>
            <a:r>
              <a:rPr sz="1100" spc="-30" dirty="0">
                <a:latin typeface="Calibri"/>
                <a:cs typeface="Calibri"/>
              </a:rPr>
              <a:t> </a:t>
            </a:r>
            <a:r>
              <a:rPr sz="1100" spc="-10" dirty="0">
                <a:latin typeface="Calibri"/>
                <a:cs typeface="Calibri"/>
              </a:rPr>
              <a:t>creation,</a:t>
            </a:r>
            <a:r>
              <a:rPr sz="1100" spc="-3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also</a:t>
            </a:r>
            <a:r>
              <a:rPr sz="1100" spc="-2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based</a:t>
            </a:r>
            <a:r>
              <a:rPr sz="1100" spc="-1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on</a:t>
            </a:r>
            <a:r>
              <a:rPr sz="1100" spc="-2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predefined</a:t>
            </a:r>
            <a:r>
              <a:rPr sz="1100" spc="-5" dirty="0">
                <a:latin typeface="Calibri"/>
                <a:cs typeface="Calibri"/>
              </a:rPr>
              <a:t> </a:t>
            </a:r>
            <a:r>
              <a:rPr sz="1100" spc="-10" dirty="0">
                <a:latin typeface="Calibri"/>
                <a:cs typeface="Calibri"/>
              </a:rPr>
              <a:t>templates, </a:t>
            </a:r>
            <a:r>
              <a:rPr sz="1100" dirty="0">
                <a:latin typeface="Calibri"/>
                <a:cs typeface="Calibri"/>
              </a:rPr>
              <a:t>helping</a:t>
            </a:r>
            <a:r>
              <a:rPr sz="1100" spc="-2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in</a:t>
            </a:r>
            <a:r>
              <a:rPr sz="1100" spc="-2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streamlining</a:t>
            </a:r>
            <a:r>
              <a:rPr sz="1100" spc="-4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the</a:t>
            </a:r>
            <a:r>
              <a:rPr sz="1100" spc="-25" dirty="0">
                <a:latin typeface="Calibri"/>
                <a:cs typeface="Calibri"/>
              </a:rPr>
              <a:t> </a:t>
            </a:r>
            <a:r>
              <a:rPr sz="1100" spc="-10" dirty="0">
                <a:latin typeface="Calibri"/>
                <a:cs typeface="Calibri"/>
              </a:rPr>
              <a:t>process</a:t>
            </a:r>
            <a:endParaRPr sz="1100">
              <a:latin typeface="Calibri"/>
              <a:cs typeface="Calibri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444500" y="2287338"/>
            <a:ext cx="3070860" cy="1257300"/>
          </a:xfrm>
          <a:prstGeom prst="rect">
            <a:avLst/>
          </a:prstGeom>
        </p:spPr>
        <p:txBody>
          <a:bodyPr vert="horz" wrap="square" lIns="0" tIns="1130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90"/>
              </a:spcBef>
            </a:pPr>
            <a:r>
              <a:rPr sz="1400" b="1" spc="-10" dirty="0">
                <a:latin typeface="Calibri"/>
                <a:cs typeface="Calibri"/>
              </a:rPr>
              <a:t>Regulatory</a:t>
            </a:r>
            <a:r>
              <a:rPr sz="1400" b="1" spc="10" dirty="0">
                <a:latin typeface="Calibri"/>
                <a:cs typeface="Calibri"/>
              </a:rPr>
              <a:t> </a:t>
            </a:r>
            <a:r>
              <a:rPr sz="1400" b="1" spc="-10" dirty="0">
                <a:latin typeface="Calibri"/>
                <a:cs typeface="Calibri"/>
              </a:rPr>
              <a:t>Compliance</a:t>
            </a:r>
            <a:endParaRPr sz="1400">
              <a:latin typeface="Calibri"/>
              <a:cs typeface="Calibri"/>
            </a:endParaRPr>
          </a:p>
          <a:p>
            <a:pPr marL="12700" marR="5080">
              <a:lnSpc>
                <a:spcPct val="100000"/>
              </a:lnSpc>
              <a:spcBef>
                <a:spcPts val="625"/>
              </a:spcBef>
            </a:pPr>
            <a:r>
              <a:rPr sz="1100" dirty="0">
                <a:latin typeface="Calibri"/>
                <a:cs typeface="Calibri"/>
              </a:rPr>
              <a:t>Automation</a:t>
            </a:r>
            <a:r>
              <a:rPr sz="1100" spc="-40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of</a:t>
            </a:r>
            <a:r>
              <a:rPr sz="1100" spc="-2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regulatory</a:t>
            </a:r>
            <a:r>
              <a:rPr sz="1100" spc="-20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compliance</a:t>
            </a:r>
            <a:r>
              <a:rPr sz="1100" spc="-30" dirty="0">
                <a:latin typeface="Calibri"/>
                <a:cs typeface="Calibri"/>
              </a:rPr>
              <a:t> </a:t>
            </a:r>
            <a:r>
              <a:rPr sz="1100" spc="-10" dirty="0">
                <a:latin typeface="Calibri"/>
                <a:cs typeface="Calibri"/>
              </a:rPr>
              <a:t>processes</a:t>
            </a:r>
            <a:r>
              <a:rPr sz="1100" spc="-45" dirty="0">
                <a:latin typeface="Calibri"/>
                <a:cs typeface="Calibri"/>
              </a:rPr>
              <a:t> </a:t>
            </a:r>
            <a:r>
              <a:rPr sz="1100" spc="-25" dirty="0">
                <a:latin typeface="Calibri"/>
                <a:cs typeface="Calibri"/>
              </a:rPr>
              <a:t>by </a:t>
            </a:r>
            <a:r>
              <a:rPr sz="1100" dirty="0">
                <a:latin typeface="Calibri"/>
                <a:cs typeface="Calibri"/>
              </a:rPr>
              <a:t>analyzing</a:t>
            </a:r>
            <a:r>
              <a:rPr sz="1100" spc="-10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regulatory</a:t>
            </a:r>
            <a:r>
              <a:rPr sz="1100" spc="-2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documents,</a:t>
            </a:r>
            <a:r>
              <a:rPr sz="1100" spc="-45" dirty="0">
                <a:latin typeface="Calibri"/>
                <a:cs typeface="Calibri"/>
              </a:rPr>
              <a:t> </a:t>
            </a:r>
            <a:r>
              <a:rPr sz="1100" spc="-10" dirty="0">
                <a:latin typeface="Calibri"/>
                <a:cs typeface="Calibri"/>
              </a:rPr>
              <a:t>identifying</a:t>
            </a:r>
            <a:r>
              <a:rPr sz="1100" spc="-20" dirty="0">
                <a:latin typeface="Calibri"/>
                <a:cs typeface="Calibri"/>
              </a:rPr>
              <a:t> </a:t>
            </a:r>
            <a:r>
              <a:rPr sz="1100" spc="-10" dirty="0">
                <a:latin typeface="Calibri"/>
                <a:cs typeface="Calibri"/>
              </a:rPr>
              <a:t>relevant </a:t>
            </a:r>
            <a:r>
              <a:rPr sz="1100" dirty="0">
                <a:latin typeface="Calibri"/>
                <a:cs typeface="Calibri"/>
              </a:rPr>
              <a:t>clauses,</a:t>
            </a:r>
            <a:r>
              <a:rPr sz="1100" spc="-4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and</a:t>
            </a:r>
            <a:r>
              <a:rPr sz="1100" spc="-1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ensuring</a:t>
            </a:r>
            <a:r>
              <a:rPr sz="1100" spc="-30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adherence</a:t>
            </a:r>
            <a:r>
              <a:rPr sz="1100" spc="-3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to</a:t>
            </a:r>
            <a:r>
              <a:rPr sz="1100" spc="-25" dirty="0">
                <a:latin typeface="Calibri"/>
                <a:cs typeface="Calibri"/>
              </a:rPr>
              <a:t> </a:t>
            </a:r>
            <a:r>
              <a:rPr sz="1100" spc="-10" dirty="0">
                <a:latin typeface="Calibri"/>
                <a:cs typeface="Calibri"/>
              </a:rPr>
              <a:t>compliance requirements</a:t>
            </a:r>
            <a:r>
              <a:rPr sz="1100" spc="-30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minimizing</a:t>
            </a:r>
            <a:r>
              <a:rPr sz="1100" spc="-30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manual</a:t>
            </a:r>
            <a:r>
              <a:rPr sz="1100" spc="-20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effort</a:t>
            </a:r>
            <a:r>
              <a:rPr sz="1100" spc="-1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in</a:t>
            </a:r>
            <a:r>
              <a:rPr sz="1100" spc="-5" dirty="0">
                <a:latin typeface="Calibri"/>
                <a:cs typeface="Calibri"/>
              </a:rPr>
              <a:t> </a:t>
            </a:r>
            <a:r>
              <a:rPr sz="1100" spc="-10" dirty="0">
                <a:latin typeface="Calibri"/>
                <a:cs typeface="Calibri"/>
              </a:rPr>
              <a:t>compliance monitoring</a:t>
            </a:r>
            <a:endParaRPr sz="1100">
              <a:latin typeface="Calibri"/>
              <a:cs typeface="Calibri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2638170" y="5308154"/>
            <a:ext cx="2743835" cy="753745"/>
          </a:xfrm>
          <a:prstGeom prst="rect">
            <a:avLst/>
          </a:prstGeom>
        </p:spPr>
        <p:txBody>
          <a:bodyPr vert="horz" wrap="square" lIns="0" tIns="11239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85"/>
              </a:spcBef>
            </a:pPr>
            <a:r>
              <a:rPr sz="1400" b="1" dirty="0">
                <a:latin typeface="Calibri"/>
                <a:cs typeface="Calibri"/>
              </a:rPr>
              <a:t>Coding</a:t>
            </a:r>
            <a:r>
              <a:rPr sz="1400" b="1" spc="-40" dirty="0">
                <a:latin typeface="Calibri"/>
                <a:cs typeface="Calibri"/>
              </a:rPr>
              <a:t> </a:t>
            </a:r>
            <a:r>
              <a:rPr sz="1400" b="1" spc="-10" dirty="0">
                <a:latin typeface="Calibri"/>
                <a:cs typeface="Calibri"/>
              </a:rPr>
              <a:t>assistant</a:t>
            </a:r>
            <a:endParaRPr sz="140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625"/>
              </a:spcBef>
            </a:pPr>
            <a:r>
              <a:rPr sz="1100" dirty="0">
                <a:latin typeface="Calibri"/>
                <a:cs typeface="Calibri"/>
              </a:rPr>
              <a:t>Writing</a:t>
            </a:r>
            <a:r>
              <a:rPr sz="1100" spc="-1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a</a:t>
            </a:r>
            <a:r>
              <a:rPr sz="1100" spc="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new</a:t>
            </a:r>
            <a:r>
              <a:rPr sz="1100" spc="20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code</a:t>
            </a:r>
            <a:r>
              <a:rPr sz="1100" spc="-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or</a:t>
            </a:r>
            <a:r>
              <a:rPr sz="1100" spc="5" dirty="0">
                <a:latin typeface="Calibri"/>
                <a:cs typeface="Calibri"/>
              </a:rPr>
              <a:t> </a:t>
            </a:r>
            <a:r>
              <a:rPr sz="1100" spc="-10" dirty="0">
                <a:latin typeface="Calibri"/>
                <a:cs typeface="Calibri"/>
              </a:rPr>
              <a:t>transforming</a:t>
            </a:r>
            <a:r>
              <a:rPr sz="1100" spc="-2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an old </a:t>
            </a:r>
            <a:r>
              <a:rPr sz="1100" spc="-25" dirty="0">
                <a:latin typeface="Calibri"/>
                <a:cs typeface="Calibri"/>
              </a:rPr>
              <a:t>one</a:t>
            </a:r>
            <a:endParaRPr sz="110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</a:pPr>
            <a:r>
              <a:rPr sz="1100" dirty="0">
                <a:latin typeface="Calibri"/>
                <a:cs typeface="Calibri"/>
              </a:rPr>
              <a:t>can</a:t>
            </a:r>
            <a:r>
              <a:rPr sz="1100" spc="-20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become</a:t>
            </a:r>
            <a:r>
              <a:rPr sz="1100" spc="-3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faster</a:t>
            </a:r>
            <a:r>
              <a:rPr sz="1100" spc="-2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and</a:t>
            </a:r>
            <a:r>
              <a:rPr sz="1100" spc="-10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be</a:t>
            </a:r>
            <a:r>
              <a:rPr sz="1100" spc="-1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done</a:t>
            </a:r>
            <a:r>
              <a:rPr sz="1100" spc="-10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more</a:t>
            </a:r>
            <a:r>
              <a:rPr sz="1100" spc="-25" dirty="0">
                <a:latin typeface="Calibri"/>
                <a:cs typeface="Calibri"/>
              </a:rPr>
              <a:t> </a:t>
            </a:r>
            <a:r>
              <a:rPr sz="1100" spc="-10" dirty="0">
                <a:latin typeface="Calibri"/>
                <a:cs typeface="Calibri"/>
              </a:rPr>
              <a:t>efficiently</a:t>
            </a:r>
            <a:endParaRPr sz="1100">
              <a:latin typeface="Calibri"/>
              <a:cs typeface="Calibri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8651240" y="2288863"/>
            <a:ext cx="3077210" cy="1424940"/>
          </a:xfrm>
          <a:prstGeom prst="rect">
            <a:avLst/>
          </a:prstGeom>
        </p:spPr>
        <p:txBody>
          <a:bodyPr vert="horz" wrap="square" lIns="0" tIns="1130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90"/>
              </a:spcBef>
            </a:pPr>
            <a:r>
              <a:rPr sz="1400" b="1" dirty="0">
                <a:latin typeface="Calibri"/>
                <a:cs typeface="Calibri"/>
              </a:rPr>
              <a:t>Claims</a:t>
            </a:r>
            <a:r>
              <a:rPr sz="1400" b="1" spc="-35" dirty="0">
                <a:latin typeface="Calibri"/>
                <a:cs typeface="Calibri"/>
              </a:rPr>
              <a:t> </a:t>
            </a:r>
            <a:r>
              <a:rPr sz="1400" b="1" spc="-10" dirty="0">
                <a:latin typeface="Calibri"/>
                <a:cs typeface="Calibri"/>
              </a:rPr>
              <a:t>handling</a:t>
            </a:r>
            <a:endParaRPr sz="1400">
              <a:latin typeface="Calibri"/>
              <a:cs typeface="Calibri"/>
            </a:endParaRPr>
          </a:p>
          <a:p>
            <a:pPr marL="12700" marR="5080">
              <a:lnSpc>
                <a:spcPct val="100000"/>
              </a:lnSpc>
              <a:spcBef>
                <a:spcPts val="625"/>
              </a:spcBef>
            </a:pPr>
            <a:r>
              <a:rPr sz="1100" dirty="0">
                <a:latin typeface="Calibri"/>
                <a:cs typeface="Calibri"/>
              </a:rPr>
              <a:t>Claims</a:t>
            </a:r>
            <a:r>
              <a:rPr sz="1100" spc="-30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handling</a:t>
            </a:r>
            <a:r>
              <a:rPr sz="1100" spc="-30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is</a:t>
            </a:r>
            <a:r>
              <a:rPr sz="1100" spc="-1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a</a:t>
            </a:r>
            <a:r>
              <a:rPr sz="1100" spc="-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process</a:t>
            </a:r>
            <a:r>
              <a:rPr sz="1100" spc="-3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that</a:t>
            </a:r>
            <a:r>
              <a:rPr sz="1100" spc="-30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is</a:t>
            </a:r>
            <a:r>
              <a:rPr sz="1100" spc="-20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rich</a:t>
            </a:r>
            <a:r>
              <a:rPr sz="1100" spc="-20" dirty="0">
                <a:latin typeface="Calibri"/>
                <a:cs typeface="Calibri"/>
              </a:rPr>
              <a:t> </a:t>
            </a:r>
            <a:r>
              <a:rPr sz="1100" spc="-25" dirty="0">
                <a:latin typeface="Calibri"/>
                <a:cs typeface="Calibri"/>
              </a:rPr>
              <a:t>in</a:t>
            </a:r>
            <a:r>
              <a:rPr sz="1100" spc="500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unstructured</a:t>
            </a:r>
            <a:r>
              <a:rPr sz="1100" spc="-40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textual</a:t>
            </a:r>
            <a:r>
              <a:rPr sz="1100" spc="-3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data.</a:t>
            </a:r>
            <a:r>
              <a:rPr sz="1100" spc="-20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LLMs</a:t>
            </a:r>
            <a:r>
              <a:rPr sz="1100" spc="-3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can</a:t>
            </a:r>
            <a:r>
              <a:rPr sz="1100" spc="-20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be </a:t>
            </a:r>
            <a:r>
              <a:rPr sz="1100" spc="-10" dirty="0">
                <a:latin typeface="Calibri"/>
                <a:cs typeface="Calibri"/>
              </a:rPr>
              <a:t>fine-</a:t>
            </a:r>
            <a:r>
              <a:rPr sz="1100" dirty="0">
                <a:latin typeface="Calibri"/>
                <a:cs typeface="Calibri"/>
              </a:rPr>
              <a:t>tuned</a:t>
            </a:r>
            <a:r>
              <a:rPr sz="1100" spc="-30" dirty="0">
                <a:latin typeface="Calibri"/>
                <a:cs typeface="Calibri"/>
              </a:rPr>
              <a:t> </a:t>
            </a:r>
            <a:r>
              <a:rPr sz="1100" spc="-25" dirty="0">
                <a:latin typeface="Calibri"/>
                <a:cs typeface="Calibri"/>
              </a:rPr>
              <a:t>to </a:t>
            </a:r>
            <a:r>
              <a:rPr sz="1100" dirty="0">
                <a:latin typeface="Calibri"/>
                <a:cs typeface="Calibri"/>
              </a:rPr>
              <a:t>help</a:t>
            </a:r>
            <a:r>
              <a:rPr sz="1100" spc="-1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with</a:t>
            </a:r>
            <a:r>
              <a:rPr sz="1100" spc="-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tasks</a:t>
            </a:r>
            <a:r>
              <a:rPr sz="1100" spc="-3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such</a:t>
            </a:r>
            <a:r>
              <a:rPr sz="1100" spc="-1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as</a:t>
            </a:r>
            <a:r>
              <a:rPr sz="1100" spc="-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data</a:t>
            </a:r>
            <a:r>
              <a:rPr sz="1100" spc="-2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or</a:t>
            </a:r>
            <a:r>
              <a:rPr sz="1100" spc="-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text</a:t>
            </a:r>
            <a:r>
              <a:rPr sz="1100" spc="-15" dirty="0">
                <a:latin typeface="Calibri"/>
                <a:cs typeface="Calibri"/>
              </a:rPr>
              <a:t> </a:t>
            </a:r>
            <a:r>
              <a:rPr sz="1100" spc="-10" dirty="0">
                <a:latin typeface="Calibri"/>
                <a:cs typeface="Calibri"/>
              </a:rPr>
              <a:t>classification, </a:t>
            </a:r>
            <a:r>
              <a:rPr sz="1100" dirty="0">
                <a:latin typeface="Calibri"/>
                <a:cs typeface="Calibri"/>
              </a:rPr>
              <a:t>information</a:t>
            </a:r>
            <a:r>
              <a:rPr sz="1100" spc="-5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extraction</a:t>
            </a:r>
            <a:r>
              <a:rPr sz="1100" spc="-5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and</a:t>
            </a:r>
            <a:r>
              <a:rPr sz="1100" spc="-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generation</a:t>
            </a:r>
            <a:r>
              <a:rPr sz="1100" spc="-4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of</a:t>
            </a:r>
            <a:r>
              <a:rPr sz="1100" spc="-10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a</a:t>
            </a:r>
            <a:r>
              <a:rPr sz="1100" spc="-20" dirty="0">
                <a:latin typeface="Calibri"/>
                <a:cs typeface="Calibri"/>
              </a:rPr>
              <a:t> draft </a:t>
            </a:r>
            <a:r>
              <a:rPr sz="1100" spc="-10" dirty="0">
                <a:latin typeface="Calibri"/>
                <a:cs typeface="Calibri"/>
              </a:rPr>
              <a:t>responses</a:t>
            </a:r>
            <a:r>
              <a:rPr sz="1100" spc="-3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requesting</a:t>
            </a:r>
            <a:r>
              <a:rPr sz="1100" spc="-3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missing</a:t>
            </a:r>
            <a:r>
              <a:rPr sz="1100" spc="-40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information</a:t>
            </a:r>
            <a:r>
              <a:rPr sz="1100" spc="-3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in</a:t>
            </a:r>
            <a:r>
              <a:rPr sz="1100" spc="-1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the</a:t>
            </a:r>
            <a:r>
              <a:rPr sz="1100" spc="-10" dirty="0">
                <a:latin typeface="Calibri"/>
                <a:cs typeface="Calibri"/>
              </a:rPr>
              <a:t> claim reports</a:t>
            </a:r>
            <a:endParaRPr sz="1100">
              <a:latin typeface="Calibri"/>
              <a:cs typeface="Calibri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6626479" y="5307163"/>
            <a:ext cx="3096895" cy="1090295"/>
          </a:xfrm>
          <a:prstGeom prst="rect">
            <a:avLst/>
          </a:prstGeom>
        </p:spPr>
        <p:txBody>
          <a:bodyPr vert="horz" wrap="square" lIns="0" tIns="1136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95"/>
              </a:spcBef>
            </a:pPr>
            <a:r>
              <a:rPr sz="1400" b="1" dirty="0">
                <a:latin typeface="Calibri"/>
                <a:cs typeface="Calibri"/>
              </a:rPr>
              <a:t>Fraud</a:t>
            </a:r>
            <a:r>
              <a:rPr sz="1400" b="1" spc="-65" dirty="0">
                <a:latin typeface="Calibri"/>
                <a:cs typeface="Calibri"/>
              </a:rPr>
              <a:t> </a:t>
            </a:r>
            <a:r>
              <a:rPr sz="1400" b="1" spc="-10" dirty="0">
                <a:latin typeface="Calibri"/>
                <a:cs typeface="Calibri"/>
              </a:rPr>
              <a:t>detection</a:t>
            </a:r>
            <a:endParaRPr sz="1400">
              <a:latin typeface="Calibri"/>
              <a:cs typeface="Calibri"/>
            </a:endParaRPr>
          </a:p>
          <a:p>
            <a:pPr marL="12700" marR="5080">
              <a:lnSpc>
                <a:spcPct val="100000"/>
              </a:lnSpc>
              <a:spcBef>
                <a:spcPts val="625"/>
              </a:spcBef>
            </a:pPr>
            <a:r>
              <a:rPr sz="1100" dirty="0">
                <a:solidFill>
                  <a:srgbClr val="212B36"/>
                </a:solidFill>
                <a:latin typeface="Calibri"/>
                <a:cs typeface="Calibri"/>
              </a:rPr>
              <a:t>Pattern</a:t>
            </a:r>
            <a:r>
              <a:rPr sz="1100" spc="-10" dirty="0">
                <a:solidFill>
                  <a:srgbClr val="212B36"/>
                </a:solidFill>
                <a:latin typeface="Calibri"/>
                <a:cs typeface="Calibri"/>
              </a:rPr>
              <a:t> recognition</a:t>
            </a:r>
            <a:r>
              <a:rPr sz="1100" spc="-5" dirty="0">
                <a:solidFill>
                  <a:srgbClr val="212B36"/>
                </a:solidFill>
                <a:latin typeface="Calibri"/>
                <a:cs typeface="Calibri"/>
              </a:rPr>
              <a:t> </a:t>
            </a:r>
            <a:r>
              <a:rPr sz="1100" spc="-10" dirty="0">
                <a:solidFill>
                  <a:srgbClr val="212B36"/>
                </a:solidFill>
                <a:latin typeface="Calibri"/>
                <a:cs typeface="Calibri"/>
              </a:rPr>
              <a:t>enhancement </a:t>
            </a:r>
            <a:r>
              <a:rPr sz="1100" dirty="0">
                <a:solidFill>
                  <a:srgbClr val="212B36"/>
                </a:solidFill>
                <a:latin typeface="Calibri"/>
                <a:cs typeface="Calibri"/>
              </a:rPr>
              <a:t>and</a:t>
            </a:r>
            <a:r>
              <a:rPr sz="1100" spc="30" dirty="0">
                <a:solidFill>
                  <a:srgbClr val="212B36"/>
                </a:solidFill>
                <a:latin typeface="Calibri"/>
                <a:cs typeface="Calibri"/>
              </a:rPr>
              <a:t> </a:t>
            </a:r>
            <a:r>
              <a:rPr sz="1100" dirty="0">
                <a:solidFill>
                  <a:srgbClr val="212B36"/>
                </a:solidFill>
                <a:latin typeface="Calibri"/>
                <a:cs typeface="Calibri"/>
              </a:rPr>
              <a:t>more </a:t>
            </a:r>
            <a:r>
              <a:rPr sz="1100" spc="-10" dirty="0">
                <a:solidFill>
                  <a:srgbClr val="212B36"/>
                </a:solidFill>
                <a:latin typeface="Calibri"/>
                <a:cs typeface="Calibri"/>
              </a:rPr>
              <a:t>advanced </a:t>
            </a:r>
            <a:r>
              <a:rPr sz="1100" dirty="0">
                <a:solidFill>
                  <a:srgbClr val="212B36"/>
                </a:solidFill>
                <a:latin typeface="Calibri"/>
                <a:cs typeface="Calibri"/>
              </a:rPr>
              <a:t>text</a:t>
            </a:r>
            <a:r>
              <a:rPr sz="1100" spc="-25" dirty="0">
                <a:solidFill>
                  <a:srgbClr val="212B36"/>
                </a:solidFill>
                <a:latin typeface="Calibri"/>
                <a:cs typeface="Calibri"/>
              </a:rPr>
              <a:t> </a:t>
            </a:r>
            <a:r>
              <a:rPr sz="1100" dirty="0">
                <a:solidFill>
                  <a:srgbClr val="212B36"/>
                </a:solidFill>
                <a:latin typeface="Calibri"/>
                <a:cs typeface="Calibri"/>
              </a:rPr>
              <a:t>analysis</a:t>
            </a:r>
            <a:r>
              <a:rPr sz="1100" spc="-35" dirty="0">
                <a:solidFill>
                  <a:srgbClr val="212B36"/>
                </a:solidFill>
                <a:latin typeface="Calibri"/>
                <a:cs typeface="Calibri"/>
              </a:rPr>
              <a:t> </a:t>
            </a:r>
            <a:r>
              <a:rPr sz="1100" dirty="0">
                <a:solidFill>
                  <a:srgbClr val="212B36"/>
                </a:solidFill>
                <a:latin typeface="Calibri"/>
                <a:cs typeface="Calibri"/>
              </a:rPr>
              <a:t>can</a:t>
            </a:r>
            <a:r>
              <a:rPr sz="1100" spc="-20" dirty="0">
                <a:solidFill>
                  <a:srgbClr val="212B36"/>
                </a:solidFill>
                <a:latin typeface="Calibri"/>
                <a:cs typeface="Calibri"/>
              </a:rPr>
              <a:t> </a:t>
            </a:r>
            <a:r>
              <a:rPr sz="1100" dirty="0">
                <a:solidFill>
                  <a:srgbClr val="212B36"/>
                </a:solidFill>
                <a:latin typeface="Calibri"/>
                <a:cs typeface="Calibri"/>
              </a:rPr>
              <a:t>result</a:t>
            </a:r>
            <a:r>
              <a:rPr sz="1100" spc="-25" dirty="0">
                <a:solidFill>
                  <a:srgbClr val="212B36"/>
                </a:solidFill>
                <a:latin typeface="Calibri"/>
                <a:cs typeface="Calibri"/>
              </a:rPr>
              <a:t> </a:t>
            </a:r>
            <a:r>
              <a:rPr sz="1100" dirty="0">
                <a:solidFill>
                  <a:srgbClr val="212B36"/>
                </a:solidFill>
                <a:latin typeface="Calibri"/>
                <a:cs typeface="Calibri"/>
              </a:rPr>
              <a:t>in</a:t>
            </a:r>
            <a:r>
              <a:rPr sz="1100" spc="-10" dirty="0">
                <a:solidFill>
                  <a:srgbClr val="212B36"/>
                </a:solidFill>
                <a:latin typeface="Calibri"/>
                <a:cs typeface="Calibri"/>
              </a:rPr>
              <a:t> </a:t>
            </a:r>
            <a:r>
              <a:rPr sz="1100" dirty="0">
                <a:solidFill>
                  <a:srgbClr val="212B36"/>
                </a:solidFill>
                <a:latin typeface="Calibri"/>
                <a:cs typeface="Calibri"/>
              </a:rPr>
              <a:t>a</a:t>
            </a:r>
            <a:r>
              <a:rPr sz="1100" spc="-5" dirty="0">
                <a:solidFill>
                  <a:srgbClr val="212B36"/>
                </a:solidFill>
                <a:latin typeface="Calibri"/>
                <a:cs typeface="Calibri"/>
              </a:rPr>
              <a:t> </a:t>
            </a:r>
            <a:r>
              <a:rPr sz="1100" dirty="0">
                <a:solidFill>
                  <a:srgbClr val="212B36"/>
                </a:solidFill>
                <a:latin typeface="Calibri"/>
                <a:cs typeface="Calibri"/>
              </a:rPr>
              <a:t>reduction</a:t>
            </a:r>
            <a:r>
              <a:rPr sz="1100" spc="-40" dirty="0">
                <a:solidFill>
                  <a:srgbClr val="212B36"/>
                </a:solidFill>
                <a:latin typeface="Calibri"/>
                <a:cs typeface="Calibri"/>
              </a:rPr>
              <a:t> </a:t>
            </a:r>
            <a:r>
              <a:rPr sz="1100" dirty="0">
                <a:solidFill>
                  <a:srgbClr val="212B36"/>
                </a:solidFill>
                <a:latin typeface="Calibri"/>
                <a:cs typeface="Calibri"/>
              </a:rPr>
              <a:t>of</a:t>
            </a:r>
            <a:r>
              <a:rPr sz="1100" spc="-15" dirty="0">
                <a:solidFill>
                  <a:srgbClr val="212B36"/>
                </a:solidFill>
                <a:latin typeface="Calibri"/>
                <a:cs typeface="Calibri"/>
              </a:rPr>
              <a:t> </a:t>
            </a:r>
            <a:r>
              <a:rPr sz="1100" dirty="0">
                <a:solidFill>
                  <a:srgbClr val="212B36"/>
                </a:solidFill>
                <a:latin typeface="Calibri"/>
                <a:cs typeface="Calibri"/>
              </a:rPr>
              <a:t>false</a:t>
            </a:r>
            <a:r>
              <a:rPr sz="1100" spc="-10" dirty="0">
                <a:solidFill>
                  <a:srgbClr val="212B36"/>
                </a:solidFill>
                <a:latin typeface="Calibri"/>
                <a:cs typeface="Calibri"/>
              </a:rPr>
              <a:t> positives </a:t>
            </a:r>
            <a:r>
              <a:rPr sz="1100" dirty="0">
                <a:solidFill>
                  <a:srgbClr val="212B36"/>
                </a:solidFill>
                <a:latin typeface="Calibri"/>
                <a:cs typeface="Calibri"/>
              </a:rPr>
              <a:t>and</a:t>
            </a:r>
            <a:r>
              <a:rPr sz="1100" spc="-25" dirty="0">
                <a:solidFill>
                  <a:srgbClr val="212B36"/>
                </a:solidFill>
                <a:latin typeface="Calibri"/>
                <a:cs typeface="Calibri"/>
              </a:rPr>
              <a:t> </a:t>
            </a:r>
            <a:r>
              <a:rPr sz="1100" dirty="0">
                <a:solidFill>
                  <a:srgbClr val="212B36"/>
                </a:solidFill>
                <a:latin typeface="Calibri"/>
                <a:cs typeface="Calibri"/>
              </a:rPr>
              <a:t>false</a:t>
            </a:r>
            <a:r>
              <a:rPr sz="1100" spc="-15" dirty="0">
                <a:solidFill>
                  <a:srgbClr val="212B36"/>
                </a:solidFill>
                <a:latin typeface="Calibri"/>
                <a:cs typeface="Calibri"/>
              </a:rPr>
              <a:t> </a:t>
            </a:r>
            <a:r>
              <a:rPr sz="1100" dirty="0">
                <a:solidFill>
                  <a:srgbClr val="212B36"/>
                </a:solidFill>
                <a:latin typeface="Calibri"/>
                <a:cs typeface="Calibri"/>
              </a:rPr>
              <a:t>negatives</a:t>
            </a:r>
            <a:r>
              <a:rPr sz="1100" spc="-45" dirty="0">
                <a:solidFill>
                  <a:srgbClr val="212B36"/>
                </a:solidFill>
                <a:latin typeface="Calibri"/>
                <a:cs typeface="Calibri"/>
              </a:rPr>
              <a:t> </a:t>
            </a:r>
            <a:r>
              <a:rPr sz="1100" dirty="0">
                <a:solidFill>
                  <a:srgbClr val="212B36"/>
                </a:solidFill>
                <a:latin typeface="Calibri"/>
                <a:cs typeface="Calibri"/>
              </a:rPr>
              <a:t>results</a:t>
            </a:r>
            <a:r>
              <a:rPr sz="1100" spc="-25" dirty="0">
                <a:solidFill>
                  <a:srgbClr val="212B36"/>
                </a:solidFill>
                <a:latin typeface="Calibri"/>
                <a:cs typeface="Calibri"/>
              </a:rPr>
              <a:t> </a:t>
            </a:r>
            <a:r>
              <a:rPr sz="1100" dirty="0">
                <a:solidFill>
                  <a:srgbClr val="212B36"/>
                </a:solidFill>
                <a:latin typeface="Calibri"/>
                <a:cs typeface="Calibri"/>
              </a:rPr>
              <a:t>and</a:t>
            </a:r>
            <a:r>
              <a:rPr sz="1100" spc="-20" dirty="0">
                <a:solidFill>
                  <a:srgbClr val="212B36"/>
                </a:solidFill>
                <a:latin typeface="Calibri"/>
                <a:cs typeface="Calibri"/>
              </a:rPr>
              <a:t> </a:t>
            </a:r>
            <a:r>
              <a:rPr sz="1100" dirty="0">
                <a:solidFill>
                  <a:srgbClr val="212B36"/>
                </a:solidFill>
                <a:latin typeface="Calibri"/>
                <a:cs typeface="Calibri"/>
              </a:rPr>
              <a:t>improve</a:t>
            </a:r>
            <a:r>
              <a:rPr sz="1100" spc="-30" dirty="0">
                <a:solidFill>
                  <a:srgbClr val="212B36"/>
                </a:solidFill>
                <a:latin typeface="Calibri"/>
                <a:cs typeface="Calibri"/>
              </a:rPr>
              <a:t> </a:t>
            </a:r>
            <a:r>
              <a:rPr sz="1100" dirty="0">
                <a:solidFill>
                  <a:srgbClr val="212B36"/>
                </a:solidFill>
                <a:latin typeface="Calibri"/>
                <a:cs typeface="Calibri"/>
              </a:rPr>
              <a:t>the</a:t>
            </a:r>
            <a:r>
              <a:rPr sz="1100" spc="-25" dirty="0">
                <a:solidFill>
                  <a:srgbClr val="212B36"/>
                </a:solidFill>
                <a:latin typeface="Calibri"/>
                <a:cs typeface="Calibri"/>
              </a:rPr>
              <a:t> </a:t>
            </a:r>
            <a:r>
              <a:rPr sz="1100" spc="-20" dirty="0">
                <a:solidFill>
                  <a:srgbClr val="212B36"/>
                </a:solidFill>
                <a:latin typeface="Calibri"/>
                <a:cs typeface="Calibri"/>
              </a:rPr>
              <a:t>whole </a:t>
            </a:r>
            <a:r>
              <a:rPr sz="1100" dirty="0">
                <a:solidFill>
                  <a:srgbClr val="212B36"/>
                </a:solidFill>
                <a:latin typeface="Calibri"/>
                <a:cs typeface="Calibri"/>
              </a:rPr>
              <a:t>outcomes</a:t>
            </a:r>
            <a:r>
              <a:rPr sz="1100" spc="-50" dirty="0">
                <a:solidFill>
                  <a:srgbClr val="212B36"/>
                </a:solidFill>
                <a:latin typeface="Calibri"/>
                <a:cs typeface="Calibri"/>
              </a:rPr>
              <a:t> </a:t>
            </a:r>
            <a:r>
              <a:rPr sz="1100" dirty="0">
                <a:solidFill>
                  <a:srgbClr val="212B36"/>
                </a:solidFill>
                <a:latin typeface="Calibri"/>
                <a:cs typeface="Calibri"/>
              </a:rPr>
              <a:t>of</a:t>
            </a:r>
            <a:r>
              <a:rPr sz="1100" spc="-10" dirty="0">
                <a:solidFill>
                  <a:srgbClr val="212B36"/>
                </a:solidFill>
                <a:latin typeface="Calibri"/>
                <a:cs typeface="Calibri"/>
              </a:rPr>
              <a:t> </a:t>
            </a:r>
            <a:r>
              <a:rPr sz="1100" dirty="0">
                <a:solidFill>
                  <a:srgbClr val="212B36"/>
                </a:solidFill>
                <a:latin typeface="Calibri"/>
                <a:cs typeface="Calibri"/>
              </a:rPr>
              <a:t>a fraud</a:t>
            </a:r>
            <a:r>
              <a:rPr sz="1100" spc="-5" dirty="0">
                <a:solidFill>
                  <a:srgbClr val="212B36"/>
                </a:solidFill>
                <a:latin typeface="Calibri"/>
                <a:cs typeface="Calibri"/>
              </a:rPr>
              <a:t> </a:t>
            </a:r>
            <a:r>
              <a:rPr sz="1100" dirty="0">
                <a:solidFill>
                  <a:srgbClr val="212B36"/>
                </a:solidFill>
                <a:latin typeface="Calibri"/>
                <a:cs typeface="Calibri"/>
              </a:rPr>
              <a:t>detection</a:t>
            </a:r>
            <a:r>
              <a:rPr sz="1100" spc="-40" dirty="0">
                <a:solidFill>
                  <a:srgbClr val="212B36"/>
                </a:solidFill>
                <a:latin typeface="Calibri"/>
                <a:cs typeface="Calibri"/>
              </a:rPr>
              <a:t> </a:t>
            </a:r>
            <a:r>
              <a:rPr sz="1100" spc="-20" dirty="0">
                <a:solidFill>
                  <a:srgbClr val="212B36"/>
                </a:solidFill>
                <a:latin typeface="Calibri"/>
                <a:cs typeface="Calibri"/>
              </a:rPr>
              <a:t>model</a:t>
            </a:r>
            <a:endParaRPr sz="1100">
              <a:latin typeface="Calibri"/>
              <a:cs typeface="Calibri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5868937" y="4183481"/>
            <a:ext cx="451484" cy="601980"/>
          </a:xfrm>
          <a:custGeom>
            <a:avLst/>
            <a:gdLst/>
            <a:ahLst/>
            <a:cxnLst/>
            <a:rect l="l" t="t" r="r" b="b"/>
            <a:pathLst>
              <a:path w="451485" h="601979">
                <a:moveTo>
                  <a:pt x="218147" y="195567"/>
                </a:moveTo>
                <a:lnTo>
                  <a:pt x="75222" y="195567"/>
                </a:lnTo>
                <a:lnTo>
                  <a:pt x="75222" y="210604"/>
                </a:lnTo>
                <a:lnTo>
                  <a:pt x="218147" y="210604"/>
                </a:lnTo>
                <a:lnTo>
                  <a:pt x="218147" y="195567"/>
                </a:lnTo>
                <a:close/>
              </a:path>
              <a:path w="451485" h="601979">
                <a:moveTo>
                  <a:pt x="376123" y="496468"/>
                </a:moveTo>
                <a:lnTo>
                  <a:pt x="75222" y="496468"/>
                </a:lnTo>
                <a:lnTo>
                  <a:pt x="75222" y="511517"/>
                </a:lnTo>
                <a:lnTo>
                  <a:pt x="376123" y="511517"/>
                </a:lnTo>
                <a:lnTo>
                  <a:pt x="376123" y="496468"/>
                </a:lnTo>
                <a:close/>
              </a:path>
              <a:path w="451485" h="601979">
                <a:moveTo>
                  <a:pt x="376123" y="436295"/>
                </a:moveTo>
                <a:lnTo>
                  <a:pt x="75222" y="436295"/>
                </a:lnTo>
                <a:lnTo>
                  <a:pt x="75222" y="451332"/>
                </a:lnTo>
                <a:lnTo>
                  <a:pt x="376123" y="451332"/>
                </a:lnTo>
                <a:lnTo>
                  <a:pt x="376123" y="436295"/>
                </a:lnTo>
                <a:close/>
              </a:path>
              <a:path w="451485" h="601979">
                <a:moveTo>
                  <a:pt x="376123" y="376110"/>
                </a:moveTo>
                <a:lnTo>
                  <a:pt x="75222" y="376110"/>
                </a:lnTo>
                <a:lnTo>
                  <a:pt x="75222" y="391160"/>
                </a:lnTo>
                <a:lnTo>
                  <a:pt x="376123" y="391160"/>
                </a:lnTo>
                <a:lnTo>
                  <a:pt x="376123" y="376110"/>
                </a:lnTo>
                <a:close/>
              </a:path>
              <a:path w="451485" h="601979">
                <a:moveTo>
                  <a:pt x="376123" y="315925"/>
                </a:moveTo>
                <a:lnTo>
                  <a:pt x="75222" y="315925"/>
                </a:lnTo>
                <a:lnTo>
                  <a:pt x="75222" y="330974"/>
                </a:lnTo>
                <a:lnTo>
                  <a:pt x="376123" y="330974"/>
                </a:lnTo>
                <a:lnTo>
                  <a:pt x="376123" y="315925"/>
                </a:lnTo>
                <a:close/>
              </a:path>
              <a:path w="451485" h="601979">
                <a:moveTo>
                  <a:pt x="376123" y="255752"/>
                </a:moveTo>
                <a:lnTo>
                  <a:pt x="75222" y="255752"/>
                </a:lnTo>
                <a:lnTo>
                  <a:pt x="75222" y="270789"/>
                </a:lnTo>
                <a:lnTo>
                  <a:pt x="376123" y="270789"/>
                </a:lnTo>
                <a:lnTo>
                  <a:pt x="376123" y="255752"/>
                </a:lnTo>
                <a:close/>
              </a:path>
              <a:path w="451485" h="601979">
                <a:moveTo>
                  <a:pt x="451345" y="162356"/>
                </a:moveTo>
                <a:lnTo>
                  <a:pt x="446938" y="157949"/>
                </a:lnTo>
                <a:lnTo>
                  <a:pt x="436295" y="147320"/>
                </a:lnTo>
                <a:lnTo>
                  <a:pt x="436295" y="172999"/>
                </a:lnTo>
                <a:lnTo>
                  <a:pt x="436295" y="586740"/>
                </a:lnTo>
                <a:lnTo>
                  <a:pt x="15036" y="586740"/>
                </a:lnTo>
                <a:lnTo>
                  <a:pt x="15036" y="15049"/>
                </a:lnTo>
                <a:lnTo>
                  <a:pt x="278333" y="15049"/>
                </a:lnTo>
                <a:lnTo>
                  <a:pt x="278333" y="172999"/>
                </a:lnTo>
                <a:lnTo>
                  <a:pt x="436295" y="172999"/>
                </a:lnTo>
                <a:lnTo>
                  <a:pt x="436295" y="147320"/>
                </a:lnTo>
                <a:lnTo>
                  <a:pt x="425665" y="136690"/>
                </a:lnTo>
                <a:lnTo>
                  <a:pt x="425665" y="157949"/>
                </a:lnTo>
                <a:lnTo>
                  <a:pt x="293370" y="157949"/>
                </a:lnTo>
                <a:lnTo>
                  <a:pt x="293370" y="25831"/>
                </a:lnTo>
                <a:lnTo>
                  <a:pt x="293573" y="25831"/>
                </a:lnTo>
                <a:lnTo>
                  <a:pt x="425665" y="157949"/>
                </a:lnTo>
                <a:lnTo>
                  <a:pt x="425665" y="136690"/>
                </a:lnTo>
                <a:lnTo>
                  <a:pt x="314794" y="25831"/>
                </a:lnTo>
                <a:lnTo>
                  <a:pt x="304012" y="15049"/>
                </a:lnTo>
                <a:lnTo>
                  <a:pt x="288963" y="0"/>
                </a:lnTo>
                <a:lnTo>
                  <a:pt x="0" y="0"/>
                </a:lnTo>
                <a:lnTo>
                  <a:pt x="0" y="601789"/>
                </a:lnTo>
                <a:lnTo>
                  <a:pt x="451345" y="601789"/>
                </a:lnTo>
                <a:lnTo>
                  <a:pt x="451345" y="586740"/>
                </a:lnTo>
                <a:lnTo>
                  <a:pt x="451345" y="16235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4" name="object 14"/>
          <p:cNvGrpSpPr/>
          <p:nvPr/>
        </p:nvGrpSpPr>
        <p:grpSpPr>
          <a:xfrm>
            <a:off x="3763485" y="4159534"/>
            <a:ext cx="537845" cy="601980"/>
            <a:chOff x="3763485" y="4159534"/>
            <a:chExt cx="537845" cy="601980"/>
          </a:xfrm>
        </p:grpSpPr>
        <p:pic>
          <p:nvPicPr>
            <p:cNvPr id="15" name="object 15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015543" y="4472485"/>
              <a:ext cx="135404" cy="135408"/>
            </a:xfrm>
            <a:prstGeom prst="rect">
              <a:avLst/>
            </a:prstGeom>
          </p:spPr>
        </p:pic>
        <p:sp>
          <p:nvSpPr>
            <p:cNvPr id="16" name="object 16"/>
            <p:cNvSpPr/>
            <p:nvPr/>
          </p:nvSpPr>
          <p:spPr>
            <a:xfrm>
              <a:off x="3947703" y="4625854"/>
              <a:ext cx="271145" cy="135890"/>
            </a:xfrm>
            <a:custGeom>
              <a:avLst/>
              <a:gdLst/>
              <a:ahLst/>
              <a:cxnLst/>
              <a:rect l="l" t="t" r="r" b="b"/>
              <a:pathLst>
                <a:path w="271145" h="135889">
                  <a:moveTo>
                    <a:pt x="135485" y="0"/>
                  </a:moveTo>
                  <a:lnTo>
                    <a:pt x="94293" y="4994"/>
                  </a:lnTo>
                  <a:lnTo>
                    <a:pt x="46978" y="21453"/>
                  </a:lnTo>
                  <a:lnTo>
                    <a:pt x="9175" y="46308"/>
                  </a:lnTo>
                  <a:lnTo>
                    <a:pt x="0" y="71540"/>
                  </a:lnTo>
                  <a:lnTo>
                    <a:pt x="0" y="135596"/>
                  </a:lnTo>
                  <a:lnTo>
                    <a:pt x="15044" y="135596"/>
                  </a:lnTo>
                  <a:lnTo>
                    <a:pt x="15082" y="63930"/>
                  </a:lnTo>
                  <a:lnTo>
                    <a:pt x="18649" y="56714"/>
                  </a:lnTo>
                  <a:lnTo>
                    <a:pt x="53702" y="34895"/>
                  </a:lnTo>
                  <a:lnTo>
                    <a:pt x="97521" y="19672"/>
                  </a:lnTo>
                  <a:lnTo>
                    <a:pt x="135335" y="15026"/>
                  </a:lnTo>
                  <a:lnTo>
                    <a:pt x="148310" y="15848"/>
                  </a:lnTo>
                  <a:lnTo>
                    <a:pt x="202582" y="28057"/>
                  </a:lnTo>
                  <a:lnTo>
                    <a:pt x="252692" y="56526"/>
                  </a:lnTo>
                  <a:lnTo>
                    <a:pt x="256309" y="63842"/>
                  </a:lnTo>
                  <a:lnTo>
                    <a:pt x="256058" y="135578"/>
                  </a:lnTo>
                  <a:lnTo>
                    <a:pt x="271103" y="135578"/>
                  </a:lnTo>
                  <a:lnTo>
                    <a:pt x="271072" y="71754"/>
                  </a:lnTo>
                  <a:lnTo>
                    <a:pt x="240465" y="29607"/>
                  </a:lnTo>
                  <a:lnTo>
                    <a:pt x="176851" y="5292"/>
                  </a:lnTo>
                  <a:lnTo>
                    <a:pt x="149390" y="856"/>
                  </a:lnTo>
                  <a:lnTo>
                    <a:pt x="135485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7" name="object 17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3763485" y="4366979"/>
              <a:ext cx="242442" cy="288966"/>
            </a:xfrm>
            <a:prstGeom prst="rect">
              <a:avLst/>
            </a:prstGeom>
          </p:spPr>
        </p:pic>
        <p:sp>
          <p:nvSpPr>
            <p:cNvPr id="18" name="object 18"/>
            <p:cNvSpPr/>
            <p:nvPr/>
          </p:nvSpPr>
          <p:spPr>
            <a:xfrm>
              <a:off x="3985273" y="4159541"/>
              <a:ext cx="316230" cy="289560"/>
            </a:xfrm>
            <a:custGeom>
              <a:avLst/>
              <a:gdLst/>
              <a:ahLst/>
              <a:cxnLst/>
              <a:rect l="l" t="t" r="r" b="b"/>
              <a:pathLst>
                <a:path w="316229" h="289560">
                  <a:moveTo>
                    <a:pt x="169075" y="182232"/>
                  </a:moveTo>
                  <a:lnTo>
                    <a:pt x="168846" y="168694"/>
                  </a:lnTo>
                  <a:lnTo>
                    <a:pt x="163334" y="163271"/>
                  </a:lnTo>
                  <a:lnTo>
                    <a:pt x="149758" y="163283"/>
                  </a:lnTo>
                  <a:lnTo>
                    <a:pt x="144221" y="168808"/>
                  </a:lnTo>
                  <a:lnTo>
                    <a:pt x="144233" y="182460"/>
                  </a:lnTo>
                  <a:lnTo>
                    <a:pt x="149771" y="187985"/>
                  </a:lnTo>
                  <a:lnTo>
                    <a:pt x="156591" y="187972"/>
                  </a:lnTo>
                  <a:lnTo>
                    <a:pt x="156870" y="187972"/>
                  </a:lnTo>
                  <a:lnTo>
                    <a:pt x="163690" y="187845"/>
                  </a:lnTo>
                  <a:lnTo>
                    <a:pt x="169075" y="182232"/>
                  </a:lnTo>
                  <a:close/>
                </a:path>
                <a:path w="316229" h="289560">
                  <a:moveTo>
                    <a:pt x="203682" y="82664"/>
                  </a:moveTo>
                  <a:lnTo>
                    <a:pt x="175120" y="40309"/>
                  </a:lnTo>
                  <a:lnTo>
                    <a:pt x="152908" y="36550"/>
                  </a:lnTo>
                  <a:lnTo>
                    <a:pt x="151155" y="36677"/>
                  </a:lnTo>
                  <a:lnTo>
                    <a:pt x="134493" y="40982"/>
                  </a:lnTo>
                  <a:lnTo>
                    <a:pt x="121145" y="50901"/>
                  </a:lnTo>
                  <a:lnTo>
                    <a:pt x="112369" y="65036"/>
                  </a:lnTo>
                  <a:lnTo>
                    <a:pt x="109435" y="81991"/>
                  </a:lnTo>
                  <a:lnTo>
                    <a:pt x="109435" y="82905"/>
                  </a:lnTo>
                  <a:lnTo>
                    <a:pt x="124561" y="82905"/>
                  </a:lnTo>
                  <a:lnTo>
                    <a:pt x="124675" y="78549"/>
                  </a:lnTo>
                  <a:lnTo>
                    <a:pt x="127685" y="67945"/>
                  </a:lnTo>
                  <a:lnTo>
                    <a:pt x="134124" y="59436"/>
                  </a:lnTo>
                  <a:lnTo>
                    <a:pt x="143179" y="53797"/>
                  </a:lnTo>
                  <a:lnTo>
                    <a:pt x="154012" y="51777"/>
                  </a:lnTo>
                  <a:lnTo>
                    <a:pt x="157657" y="51892"/>
                  </a:lnTo>
                  <a:lnTo>
                    <a:pt x="169824" y="54559"/>
                  </a:lnTo>
                  <a:lnTo>
                    <a:pt x="179679" y="61442"/>
                  </a:lnTo>
                  <a:lnTo>
                    <a:pt x="186232" y="71513"/>
                  </a:lnTo>
                  <a:lnTo>
                    <a:pt x="188506" y="83756"/>
                  </a:lnTo>
                  <a:lnTo>
                    <a:pt x="186207" y="95643"/>
                  </a:lnTo>
                  <a:lnTo>
                    <a:pt x="179705" y="104825"/>
                  </a:lnTo>
                  <a:lnTo>
                    <a:pt x="169621" y="110744"/>
                  </a:lnTo>
                  <a:lnTo>
                    <a:pt x="156565" y="112839"/>
                  </a:lnTo>
                  <a:lnTo>
                    <a:pt x="149047" y="112839"/>
                  </a:lnTo>
                  <a:lnTo>
                    <a:pt x="149047" y="149834"/>
                  </a:lnTo>
                  <a:lnTo>
                    <a:pt x="164211" y="149834"/>
                  </a:lnTo>
                  <a:lnTo>
                    <a:pt x="164211" y="127533"/>
                  </a:lnTo>
                  <a:lnTo>
                    <a:pt x="166522" y="127241"/>
                  </a:lnTo>
                  <a:lnTo>
                    <a:pt x="181635" y="122389"/>
                  </a:lnTo>
                  <a:lnTo>
                    <a:pt x="193573" y="112699"/>
                  </a:lnTo>
                  <a:lnTo>
                    <a:pt x="201269" y="99390"/>
                  </a:lnTo>
                  <a:lnTo>
                    <a:pt x="203682" y="83705"/>
                  </a:lnTo>
                  <a:lnTo>
                    <a:pt x="203682" y="82664"/>
                  </a:lnTo>
                  <a:close/>
                </a:path>
                <a:path w="316229" h="289560">
                  <a:moveTo>
                    <a:pt x="315683" y="7086"/>
                  </a:moveTo>
                  <a:lnTo>
                    <a:pt x="308660" y="0"/>
                  </a:lnTo>
                  <a:lnTo>
                    <a:pt x="300647" y="0"/>
                  </a:lnTo>
                  <a:lnTo>
                    <a:pt x="300647" y="15354"/>
                  </a:lnTo>
                  <a:lnTo>
                    <a:pt x="300647" y="210197"/>
                  </a:lnTo>
                  <a:lnTo>
                    <a:pt x="300304" y="210616"/>
                  </a:lnTo>
                  <a:lnTo>
                    <a:pt x="117005" y="210616"/>
                  </a:lnTo>
                  <a:lnTo>
                    <a:pt x="75996" y="252374"/>
                  </a:lnTo>
                  <a:lnTo>
                    <a:pt x="75996" y="210616"/>
                  </a:lnTo>
                  <a:lnTo>
                    <a:pt x="15582" y="210616"/>
                  </a:lnTo>
                  <a:lnTo>
                    <a:pt x="15163" y="210197"/>
                  </a:lnTo>
                  <a:lnTo>
                    <a:pt x="15151" y="15354"/>
                  </a:lnTo>
                  <a:lnTo>
                    <a:pt x="15417" y="15049"/>
                  </a:lnTo>
                  <a:lnTo>
                    <a:pt x="300342" y="15049"/>
                  </a:lnTo>
                  <a:lnTo>
                    <a:pt x="300647" y="15354"/>
                  </a:lnTo>
                  <a:lnTo>
                    <a:pt x="300647" y="0"/>
                  </a:lnTo>
                  <a:lnTo>
                    <a:pt x="7124" y="0"/>
                  </a:lnTo>
                  <a:lnTo>
                    <a:pt x="127" y="7086"/>
                  </a:lnTo>
                  <a:lnTo>
                    <a:pt x="152" y="210616"/>
                  </a:lnTo>
                  <a:lnTo>
                    <a:pt x="0" y="218274"/>
                  </a:lnTo>
                  <a:lnTo>
                    <a:pt x="7099" y="225653"/>
                  </a:lnTo>
                  <a:lnTo>
                    <a:pt x="60960" y="225653"/>
                  </a:lnTo>
                  <a:lnTo>
                    <a:pt x="60960" y="289166"/>
                  </a:lnTo>
                  <a:lnTo>
                    <a:pt x="97091" y="252374"/>
                  </a:lnTo>
                  <a:lnTo>
                    <a:pt x="123329" y="225653"/>
                  </a:lnTo>
                  <a:lnTo>
                    <a:pt x="308584" y="225653"/>
                  </a:lnTo>
                  <a:lnTo>
                    <a:pt x="315683" y="218490"/>
                  </a:lnTo>
                  <a:lnTo>
                    <a:pt x="315683" y="15049"/>
                  </a:lnTo>
                  <a:lnTo>
                    <a:pt x="315683" y="7086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9" name="object 19"/>
          <p:cNvGrpSpPr/>
          <p:nvPr/>
        </p:nvGrpSpPr>
        <p:grpSpPr>
          <a:xfrm>
            <a:off x="1762239" y="4152631"/>
            <a:ext cx="466725" cy="625475"/>
            <a:chOff x="1762239" y="4152631"/>
            <a:chExt cx="466725" cy="625475"/>
          </a:xfrm>
        </p:grpSpPr>
        <p:pic>
          <p:nvPicPr>
            <p:cNvPr id="20" name="object 20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2096989" y="4594189"/>
              <a:ext cx="85756" cy="94033"/>
            </a:xfrm>
            <a:prstGeom prst="rect">
              <a:avLst/>
            </a:prstGeom>
          </p:spPr>
        </p:pic>
        <p:sp>
          <p:nvSpPr>
            <p:cNvPr id="21" name="object 21"/>
            <p:cNvSpPr/>
            <p:nvPr/>
          </p:nvSpPr>
          <p:spPr>
            <a:xfrm>
              <a:off x="1762239" y="4152631"/>
              <a:ext cx="466725" cy="625475"/>
            </a:xfrm>
            <a:custGeom>
              <a:avLst/>
              <a:gdLst/>
              <a:ahLst/>
              <a:cxnLst/>
              <a:rect l="l" t="t" r="r" b="b"/>
              <a:pathLst>
                <a:path w="466725" h="625475">
                  <a:moveTo>
                    <a:pt x="237709" y="0"/>
                  </a:moveTo>
                  <a:lnTo>
                    <a:pt x="228682" y="0"/>
                  </a:lnTo>
                  <a:lnTo>
                    <a:pt x="221160" y="3761"/>
                  </a:lnTo>
                  <a:lnTo>
                    <a:pt x="205961" y="11589"/>
                  </a:lnTo>
                  <a:lnTo>
                    <a:pt x="185881" y="21251"/>
                  </a:lnTo>
                  <a:lnTo>
                    <a:pt x="150449" y="36861"/>
                  </a:lnTo>
                  <a:lnTo>
                    <a:pt x="101047" y="51248"/>
                  </a:lnTo>
                  <a:lnTo>
                    <a:pt x="84251" y="54915"/>
                  </a:lnTo>
                  <a:lnTo>
                    <a:pt x="75177" y="58978"/>
                  </a:lnTo>
                  <a:lnTo>
                    <a:pt x="68642" y="65999"/>
                  </a:lnTo>
                  <a:lnTo>
                    <a:pt x="65210" y="74994"/>
                  </a:lnTo>
                  <a:lnTo>
                    <a:pt x="65330" y="80094"/>
                  </a:lnTo>
                  <a:lnTo>
                    <a:pt x="65445" y="84981"/>
                  </a:lnTo>
                  <a:lnTo>
                    <a:pt x="66197" y="89495"/>
                  </a:lnTo>
                  <a:lnTo>
                    <a:pt x="68454" y="94008"/>
                  </a:lnTo>
                  <a:lnTo>
                    <a:pt x="72215" y="97017"/>
                  </a:lnTo>
                  <a:lnTo>
                    <a:pt x="98544" y="123347"/>
                  </a:lnTo>
                  <a:lnTo>
                    <a:pt x="98632" y="130117"/>
                  </a:lnTo>
                  <a:lnTo>
                    <a:pt x="99358" y="136276"/>
                  </a:lnTo>
                  <a:lnTo>
                    <a:pt x="99395" y="136594"/>
                  </a:lnTo>
                  <a:lnTo>
                    <a:pt x="99518" y="137640"/>
                  </a:lnTo>
                  <a:lnTo>
                    <a:pt x="99692" y="138862"/>
                  </a:lnTo>
                  <a:lnTo>
                    <a:pt x="102869" y="147419"/>
                  </a:lnTo>
                  <a:lnTo>
                    <a:pt x="108064" y="154966"/>
                  </a:lnTo>
                  <a:lnTo>
                    <a:pt x="115093" y="160960"/>
                  </a:lnTo>
                  <a:lnTo>
                    <a:pt x="120359" y="166226"/>
                  </a:lnTo>
                  <a:lnTo>
                    <a:pt x="120359" y="218885"/>
                  </a:lnTo>
                  <a:lnTo>
                    <a:pt x="131643" y="268065"/>
                  </a:lnTo>
                  <a:lnTo>
                    <a:pt x="163237" y="307653"/>
                  </a:lnTo>
                  <a:lnTo>
                    <a:pt x="119607" y="360312"/>
                  </a:lnTo>
                  <a:lnTo>
                    <a:pt x="70052" y="380717"/>
                  </a:lnTo>
                  <a:lnTo>
                    <a:pt x="25576" y="408457"/>
                  </a:lnTo>
                  <a:lnTo>
                    <a:pt x="2092" y="444743"/>
                  </a:lnTo>
                  <a:lnTo>
                    <a:pt x="0" y="459612"/>
                  </a:lnTo>
                  <a:lnTo>
                    <a:pt x="0" y="587498"/>
                  </a:lnTo>
                  <a:lnTo>
                    <a:pt x="71722" y="612275"/>
                  </a:lnTo>
                  <a:lnTo>
                    <a:pt x="121244" y="619382"/>
                  </a:lnTo>
                  <a:lnTo>
                    <a:pt x="176832" y="623673"/>
                  </a:lnTo>
                  <a:lnTo>
                    <a:pt x="235453" y="625112"/>
                  </a:lnTo>
                  <a:lnTo>
                    <a:pt x="293965" y="623673"/>
                  </a:lnTo>
                  <a:lnTo>
                    <a:pt x="349156" y="619382"/>
                  </a:lnTo>
                  <a:lnTo>
                    <a:pt x="397884" y="612275"/>
                  </a:lnTo>
                  <a:lnTo>
                    <a:pt x="406623" y="610066"/>
                  </a:lnTo>
                  <a:lnTo>
                    <a:pt x="225673" y="610066"/>
                  </a:lnTo>
                  <a:lnTo>
                    <a:pt x="160181" y="607680"/>
                  </a:lnTo>
                  <a:lnTo>
                    <a:pt x="100048" y="601697"/>
                  </a:lnTo>
                  <a:lnTo>
                    <a:pt x="50071" y="592188"/>
                  </a:lnTo>
                  <a:lnTo>
                    <a:pt x="15044" y="579223"/>
                  </a:lnTo>
                  <a:lnTo>
                    <a:pt x="15044" y="459612"/>
                  </a:lnTo>
                  <a:lnTo>
                    <a:pt x="16372" y="448410"/>
                  </a:lnTo>
                  <a:lnTo>
                    <a:pt x="16408" y="448104"/>
                  </a:lnTo>
                  <a:lnTo>
                    <a:pt x="55290" y="406013"/>
                  </a:lnTo>
                  <a:lnTo>
                    <a:pt x="101459" y="383256"/>
                  </a:lnTo>
                  <a:lnTo>
                    <a:pt x="126377" y="373853"/>
                  </a:lnTo>
                  <a:lnTo>
                    <a:pt x="144351" y="373853"/>
                  </a:lnTo>
                  <a:lnTo>
                    <a:pt x="136908" y="362569"/>
                  </a:lnTo>
                  <a:lnTo>
                    <a:pt x="165494" y="328717"/>
                  </a:lnTo>
                  <a:lnTo>
                    <a:pt x="184804" y="328717"/>
                  </a:lnTo>
                  <a:lnTo>
                    <a:pt x="173016" y="314424"/>
                  </a:lnTo>
                  <a:lnTo>
                    <a:pt x="221968" y="314424"/>
                  </a:lnTo>
                  <a:lnTo>
                    <a:pt x="195066" y="309017"/>
                  </a:lnTo>
                  <a:lnTo>
                    <a:pt x="163989" y="288094"/>
                  </a:lnTo>
                  <a:lnTo>
                    <a:pt x="143067" y="257016"/>
                  </a:lnTo>
                  <a:lnTo>
                    <a:pt x="135404" y="218885"/>
                  </a:lnTo>
                  <a:lnTo>
                    <a:pt x="135404" y="175254"/>
                  </a:lnTo>
                  <a:lnTo>
                    <a:pt x="171569" y="175254"/>
                  </a:lnTo>
                  <a:lnTo>
                    <a:pt x="131643" y="155694"/>
                  </a:lnTo>
                  <a:lnTo>
                    <a:pt x="122616" y="148924"/>
                  </a:lnTo>
                  <a:lnTo>
                    <a:pt x="116598" y="145163"/>
                  </a:lnTo>
                  <a:lnTo>
                    <a:pt x="112836" y="137640"/>
                  </a:lnTo>
                  <a:lnTo>
                    <a:pt x="112836" y="130117"/>
                  </a:lnTo>
                  <a:lnTo>
                    <a:pt x="348534" y="130117"/>
                  </a:lnTo>
                  <a:lnTo>
                    <a:pt x="351471" y="129600"/>
                  </a:lnTo>
                  <a:lnTo>
                    <a:pt x="213367" y="129600"/>
                  </a:lnTo>
                  <a:lnTo>
                    <a:pt x="169977" y="124328"/>
                  </a:lnTo>
                  <a:lnTo>
                    <a:pt x="109075" y="113567"/>
                  </a:lnTo>
                  <a:lnTo>
                    <a:pt x="78233" y="82724"/>
                  </a:lnTo>
                  <a:lnTo>
                    <a:pt x="78233" y="75954"/>
                  </a:lnTo>
                  <a:lnTo>
                    <a:pt x="83488" y="70698"/>
                  </a:lnTo>
                  <a:lnTo>
                    <a:pt x="85003" y="69936"/>
                  </a:lnTo>
                  <a:lnTo>
                    <a:pt x="86508" y="69936"/>
                  </a:lnTo>
                  <a:lnTo>
                    <a:pt x="103868" y="66165"/>
                  </a:lnTo>
                  <a:lnTo>
                    <a:pt x="154671" y="51248"/>
                  </a:lnTo>
                  <a:lnTo>
                    <a:pt x="191822" y="34698"/>
                  </a:lnTo>
                  <a:lnTo>
                    <a:pt x="228682" y="16549"/>
                  </a:lnTo>
                  <a:lnTo>
                    <a:pt x="230187" y="16549"/>
                  </a:lnTo>
                  <a:lnTo>
                    <a:pt x="231691" y="15797"/>
                  </a:lnTo>
                  <a:lnTo>
                    <a:pt x="269605" y="15797"/>
                  </a:lnTo>
                  <a:lnTo>
                    <a:pt x="260841" y="11589"/>
                  </a:lnTo>
                  <a:lnTo>
                    <a:pt x="237709" y="0"/>
                  </a:lnTo>
                  <a:close/>
                </a:path>
                <a:path w="466725" h="625475">
                  <a:moveTo>
                    <a:pt x="240718" y="416732"/>
                  </a:moveTo>
                  <a:lnTo>
                    <a:pt x="224921" y="416732"/>
                  </a:lnTo>
                  <a:lnTo>
                    <a:pt x="225553" y="579223"/>
                  </a:lnTo>
                  <a:lnTo>
                    <a:pt x="225673" y="610066"/>
                  </a:lnTo>
                  <a:lnTo>
                    <a:pt x="240718" y="610066"/>
                  </a:lnTo>
                  <a:lnTo>
                    <a:pt x="240718" y="416732"/>
                  </a:lnTo>
                  <a:close/>
                </a:path>
                <a:path w="466725" h="625475">
                  <a:moveTo>
                    <a:pt x="380167" y="373101"/>
                  </a:moveTo>
                  <a:lnTo>
                    <a:pt x="339263" y="373101"/>
                  </a:lnTo>
                  <a:lnTo>
                    <a:pt x="364181" y="382504"/>
                  </a:lnTo>
                  <a:lnTo>
                    <a:pt x="388078" y="393095"/>
                  </a:lnTo>
                  <a:lnTo>
                    <a:pt x="431037" y="419742"/>
                  </a:lnTo>
                  <a:lnTo>
                    <a:pt x="451347" y="459612"/>
                  </a:lnTo>
                  <a:lnTo>
                    <a:pt x="451347" y="579975"/>
                  </a:lnTo>
                  <a:lnTo>
                    <a:pt x="417802" y="593246"/>
                  </a:lnTo>
                  <a:lnTo>
                    <a:pt x="368036" y="602637"/>
                  </a:lnTo>
                  <a:lnTo>
                    <a:pt x="307269" y="608221"/>
                  </a:lnTo>
                  <a:lnTo>
                    <a:pt x="240718" y="610066"/>
                  </a:lnTo>
                  <a:lnTo>
                    <a:pt x="406623" y="610066"/>
                  </a:lnTo>
                  <a:lnTo>
                    <a:pt x="437007" y="602387"/>
                  </a:lnTo>
                  <a:lnTo>
                    <a:pt x="463383" y="589755"/>
                  </a:lnTo>
                  <a:lnTo>
                    <a:pt x="466392" y="587498"/>
                  </a:lnTo>
                  <a:lnTo>
                    <a:pt x="466392" y="459612"/>
                  </a:lnTo>
                  <a:lnTo>
                    <a:pt x="451477" y="419095"/>
                  </a:lnTo>
                  <a:lnTo>
                    <a:pt x="419459" y="393095"/>
                  </a:lnTo>
                  <a:lnTo>
                    <a:pt x="396339" y="380341"/>
                  </a:lnTo>
                  <a:lnTo>
                    <a:pt x="380167" y="373101"/>
                  </a:lnTo>
                  <a:close/>
                </a:path>
                <a:path w="466725" h="625475">
                  <a:moveTo>
                    <a:pt x="144351" y="373853"/>
                  </a:moveTo>
                  <a:lnTo>
                    <a:pt x="126377" y="373853"/>
                  </a:lnTo>
                  <a:lnTo>
                    <a:pt x="180539" y="456603"/>
                  </a:lnTo>
                  <a:lnTo>
                    <a:pt x="206498" y="433282"/>
                  </a:lnTo>
                  <a:lnTo>
                    <a:pt x="183548" y="433282"/>
                  </a:lnTo>
                  <a:lnTo>
                    <a:pt x="144351" y="373853"/>
                  </a:lnTo>
                  <a:close/>
                </a:path>
                <a:path w="466725" h="625475">
                  <a:moveTo>
                    <a:pt x="263286" y="415980"/>
                  </a:moveTo>
                  <a:lnTo>
                    <a:pt x="240718" y="415980"/>
                  </a:lnTo>
                  <a:lnTo>
                    <a:pt x="285101" y="455851"/>
                  </a:lnTo>
                  <a:lnTo>
                    <a:pt x="299872" y="433282"/>
                  </a:lnTo>
                  <a:lnTo>
                    <a:pt x="282844" y="433282"/>
                  </a:lnTo>
                  <a:lnTo>
                    <a:pt x="263286" y="415980"/>
                  </a:lnTo>
                  <a:close/>
                </a:path>
                <a:path w="466725" h="625475">
                  <a:moveTo>
                    <a:pt x="184804" y="328717"/>
                  </a:moveTo>
                  <a:lnTo>
                    <a:pt x="165494" y="328717"/>
                  </a:lnTo>
                  <a:lnTo>
                    <a:pt x="222664" y="398678"/>
                  </a:lnTo>
                  <a:lnTo>
                    <a:pt x="183548" y="433282"/>
                  </a:lnTo>
                  <a:lnTo>
                    <a:pt x="206498" y="433282"/>
                  </a:lnTo>
                  <a:lnTo>
                    <a:pt x="224921" y="416732"/>
                  </a:lnTo>
                  <a:lnTo>
                    <a:pt x="240718" y="416732"/>
                  </a:lnTo>
                  <a:lnTo>
                    <a:pt x="240718" y="415980"/>
                  </a:lnTo>
                  <a:lnTo>
                    <a:pt x="263286" y="415980"/>
                  </a:lnTo>
                  <a:lnTo>
                    <a:pt x="243727" y="398678"/>
                  </a:lnTo>
                  <a:lnTo>
                    <a:pt x="252948" y="387394"/>
                  </a:lnTo>
                  <a:lnTo>
                    <a:pt x="233196" y="387394"/>
                  </a:lnTo>
                  <a:lnTo>
                    <a:pt x="184804" y="328717"/>
                  </a:lnTo>
                  <a:close/>
                </a:path>
                <a:path w="466725" h="625475">
                  <a:moveTo>
                    <a:pt x="321230" y="328717"/>
                  </a:moveTo>
                  <a:lnTo>
                    <a:pt x="300898" y="328717"/>
                  </a:lnTo>
                  <a:lnTo>
                    <a:pt x="329483" y="362569"/>
                  </a:lnTo>
                  <a:lnTo>
                    <a:pt x="282844" y="433282"/>
                  </a:lnTo>
                  <a:lnTo>
                    <a:pt x="299872" y="433282"/>
                  </a:lnTo>
                  <a:lnTo>
                    <a:pt x="339263" y="373101"/>
                  </a:lnTo>
                  <a:lnTo>
                    <a:pt x="380167" y="373101"/>
                  </a:lnTo>
                  <a:lnTo>
                    <a:pt x="371950" y="369422"/>
                  </a:lnTo>
                  <a:lnTo>
                    <a:pt x="346785" y="359560"/>
                  </a:lnTo>
                  <a:lnTo>
                    <a:pt x="321230" y="328717"/>
                  </a:lnTo>
                  <a:close/>
                </a:path>
                <a:path w="466725" h="625475">
                  <a:moveTo>
                    <a:pt x="309388" y="314424"/>
                  </a:moveTo>
                  <a:lnTo>
                    <a:pt x="292623" y="314424"/>
                  </a:lnTo>
                  <a:lnTo>
                    <a:pt x="233196" y="387394"/>
                  </a:lnTo>
                  <a:lnTo>
                    <a:pt x="252948" y="387394"/>
                  </a:lnTo>
                  <a:lnTo>
                    <a:pt x="300898" y="328717"/>
                  </a:lnTo>
                  <a:lnTo>
                    <a:pt x="321230" y="328717"/>
                  </a:lnTo>
                  <a:lnTo>
                    <a:pt x="309388" y="314424"/>
                  </a:lnTo>
                  <a:close/>
                </a:path>
                <a:path w="466725" h="625475">
                  <a:moveTo>
                    <a:pt x="221968" y="314424"/>
                  </a:moveTo>
                  <a:lnTo>
                    <a:pt x="173016" y="314424"/>
                  </a:lnTo>
                  <a:lnTo>
                    <a:pt x="202177" y="327541"/>
                  </a:lnTo>
                  <a:lnTo>
                    <a:pt x="233102" y="331914"/>
                  </a:lnTo>
                  <a:lnTo>
                    <a:pt x="263885" y="327541"/>
                  </a:lnTo>
                  <a:lnTo>
                    <a:pt x="287679" y="316680"/>
                  </a:lnTo>
                  <a:lnTo>
                    <a:pt x="233196" y="316680"/>
                  </a:lnTo>
                  <a:lnTo>
                    <a:pt x="221968" y="314424"/>
                  </a:lnTo>
                  <a:close/>
                </a:path>
                <a:path w="466725" h="625475">
                  <a:moveTo>
                    <a:pt x="346033" y="173749"/>
                  </a:moveTo>
                  <a:lnTo>
                    <a:pt x="330988" y="173749"/>
                  </a:lnTo>
                  <a:lnTo>
                    <a:pt x="330988" y="218885"/>
                  </a:lnTo>
                  <a:lnTo>
                    <a:pt x="323324" y="257016"/>
                  </a:lnTo>
                  <a:lnTo>
                    <a:pt x="302403" y="288094"/>
                  </a:lnTo>
                  <a:lnTo>
                    <a:pt x="271325" y="309017"/>
                  </a:lnTo>
                  <a:lnTo>
                    <a:pt x="233196" y="316680"/>
                  </a:lnTo>
                  <a:lnTo>
                    <a:pt x="287679" y="316680"/>
                  </a:lnTo>
                  <a:lnTo>
                    <a:pt x="292623" y="314424"/>
                  </a:lnTo>
                  <a:lnTo>
                    <a:pt x="309388" y="314424"/>
                  </a:lnTo>
                  <a:lnTo>
                    <a:pt x="303155" y="306901"/>
                  </a:lnTo>
                  <a:lnTo>
                    <a:pt x="334689" y="268065"/>
                  </a:lnTo>
                  <a:lnTo>
                    <a:pt x="346033" y="218885"/>
                  </a:lnTo>
                  <a:lnTo>
                    <a:pt x="346033" y="173749"/>
                  </a:lnTo>
                  <a:close/>
                </a:path>
                <a:path w="466725" h="625475">
                  <a:moveTo>
                    <a:pt x="171569" y="175254"/>
                  </a:moveTo>
                  <a:lnTo>
                    <a:pt x="135404" y="175254"/>
                  </a:lnTo>
                  <a:lnTo>
                    <a:pt x="182889" y="195436"/>
                  </a:lnTo>
                  <a:lnTo>
                    <a:pt x="233196" y="201865"/>
                  </a:lnTo>
                  <a:lnTo>
                    <a:pt x="283502" y="194613"/>
                  </a:lnTo>
                  <a:lnTo>
                    <a:pt x="301239" y="186820"/>
                  </a:lnTo>
                  <a:lnTo>
                    <a:pt x="229153" y="186820"/>
                  </a:lnTo>
                  <a:lnTo>
                    <a:pt x="178599" y="178698"/>
                  </a:lnTo>
                  <a:lnTo>
                    <a:pt x="171569" y="175254"/>
                  </a:lnTo>
                  <a:close/>
                </a:path>
                <a:path w="466725" h="625475">
                  <a:moveTo>
                    <a:pt x="269605" y="15797"/>
                  </a:moveTo>
                  <a:lnTo>
                    <a:pt x="234700" y="15797"/>
                  </a:lnTo>
                  <a:lnTo>
                    <a:pt x="253777" y="25248"/>
                  </a:lnTo>
                  <a:lnTo>
                    <a:pt x="274287" y="35168"/>
                  </a:lnTo>
                  <a:lnTo>
                    <a:pt x="309901" y="51248"/>
                  </a:lnTo>
                  <a:lnTo>
                    <a:pt x="362523" y="66600"/>
                  </a:lnTo>
                  <a:lnTo>
                    <a:pt x="379905" y="70699"/>
                  </a:lnTo>
                  <a:lnTo>
                    <a:pt x="382893" y="72192"/>
                  </a:lnTo>
                  <a:lnTo>
                    <a:pt x="388159" y="77458"/>
                  </a:lnTo>
                  <a:lnTo>
                    <a:pt x="388159" y="83477"/>
                  </a:lnTo>
                  <a:lnTo>
                    <a:pt x="384397" y="87990"/>
                  </a:lnTo>
                  <a:lnTo>
                    <a:pt x="357317" y="113567"/>
                  </a:lnTo>
                  <a:lnTo>
                    <a:pt x="355812" y="113567"/>
                  </a:lnTo>
                  <a:lnTo>
                    <a:pt x="294549" y="124111"/>
                  </a:lnTo>
                  <a:lnTo>
                    <a:pt x="250102" y="129600"/>
                  </a:lnTo>
                  <a:lnTo>
                    <a:pt x="352803" y="129600"/>
                  </a:lnTo>
                  <a:lnTo>
                    <a:pt x="352803" y="137640"/>
                  </a:lnTo>
                  <a:lnTo>
                    <a:pt x="279847" y="180132"/>
                  </a:lnTo>
                  <a:lnTo>
                    <a:pt x="229153" y="186820"/>
                  </a:lnTo>
                  <a:lnTo>
                    <a:pt x="301239" y="186820"/>
                  </a:lnTo>
                  <a:lnTo>
                    <a:pt x="330988" y="173749"/>
                  </a:lnTo>
                  <a:lnTo>
                    <a:pt x="346033" y="173749"/>
                  </a:lnTo>
                  <a:lnTo>
                    <a:pt x="346033" y="164722"/>
                  </a:lnTo>
                  <a:lnTo>
                    <a:pt x="368502" y="130117"/>
                  </a:lnTo>
                  <a:lnTo>
                    <a:pt x="368600" y="124111"/>
                  </a:lnTo>
                  <a:lnTo>
                    <a:pt x="394929" y="97770"/>
                  </a:lnTo>
                  <a:lnTo>
                    <a:pt x="400430" y="89495"/>
                  </a:lnTo>
                  <a:lnTo>
                    <a:pt x="402263" y="80094"/>
                  </a:lnTo>
                  <a:lnTo>
                    <a:pt x="400430" y="70699"/>
                  </a:lnTo>
                  <a:lnTo>
                    <a:pt x="394929" y="62438"/>
                  </a:lnTo>
                  <a:lnTo>
                    <a:pt x="391920" y="58677"/>
                  </a:lnTo>
                  <a:lnTo>
                    <a:pt x="387406" y="56420"/>
                  </a:lnTo>
                  <a:lnTo>
                    <a:pt x="382893" y="55668"/>
                  </a:lnTo>
                  <a:lnTo>
                    <a:pt x="366097" y="52000"/>
                  </a:lnTo>
                  <a:lnTo>
                    <a:pt x="316695" y="37613"/>
                  </a:lnTo>
                  <a:lnTo>
                    <a:pt x="280963" y="21251"/>
                  </a:lnTo>
                  <a:lnTo>
                    <a:pt x="269605" y="15797"/>
                  </a:lnTo>
                  <a:close/>
                </a:path>
                <a:path w="466725" h="625475">
                  <a:moveTo>
                    <a:pt x="348534" y="130117"/>
                  </a:moveTo>
                  <a:lnTo>
                    <a:pt x="112836" y="130117"/>
                  </a:lnTo>
                  <a:lnTo>
                    <a:pt x="151624" y="136594"/>
                  </a:lnTo>
                  <a:lnTo>
                    <a:pt x="182795" y="141307"/>
                  </a:lnTo>
                  <a:lnTo>
                    <a:pt x="208889" y="144187"/>
                  </a:lnTo>
                  <a:lnTo>
                    <a:pt x="232444" y="145163"/>
                  </a:lnTo>
                  <a:lnTo>
                    <a:pt x="255730" y="144187"/>
                  </a:lnTo>
                  <a:lnTo>
                    <a:pt x="255906" y="144187"/>
                  </a:lnTo>
                  <a:lnTo>
                    <a:pt x="281355" y="141307"/>
                  </a:lnTo>
                  <a:lnTo>
                    <a:pt x="281588" y="141307"/>
                  </a:lnTo>
                  <a:lnTo>
                    <a:pt x="313580" y="136277"/>
                  </a:lnTo>
                  <a:lnTo>
                    <a:pt x="348534" y="130117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2" name="object 22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957823" y="4192502"/>
              <a:ext cx="75976" cy="81220"/>
            </a:xfrm>
            <a:prstGeom prst="rect">
              <a:avLst/>
            </a:prstGeom>
          </p:spPr>
        </p:pic>
      </p:grpSp>
      <p:grpSp>
        <p:nvGrpSpPr>
          <p:cNvPr id="23" name="object 23"/>
          <p:cNvGrpSpPr/>
          <p:nvPr/>
        </p:nvGrpSpPr>
        <p:grpSpPr>
          <a:xfrm>
            <a:off x="9913226" y="4202710"/>
            <a:ext cx="662305" cy="485775"/>
            <a:chOff x="9913226" y="4202710"/>
            <a:chExt cx="662305" cy="485775"/>
          </a:xfrm>
        </p:grpSpPr>
        <p:sp>
          <p:nvSpPr>
            <p:cNvPr id="24" name="object 24"/>
            <p:cNvSpPr/>
            <p:nvPr/>
          </p:nvSpPr>
          <p:spPr>
            <a:xfrm>
              <a:off x="9913226" y="4202721"/>
              <a:ext cx="662305" cy="485775"/>
            </a:xfrm>
            <a:custGeom>
              <a:avLst/>
              <a:gdLst/>
              <a:ahLst/>
              <a:cxnLst/>
              <a:rect l="l" t="t" r="r" b="b"/>
              <a:pathLst>
                <a:path w="662304" h="485775">
                  <a:moveTo>
                    <a:pt x="524065" y="73342"/>
                  </a:moveTo>
                  <a:lnTo>
                    <a:pt x="494728" y="0"/>
                  </a:lnTo>
                  <a:lnTo>
                    <a:pt x="99352" y="161810"/>
                  </a:lnTo>
                  <a:lnTo>
                    <a:pt x="138722" y="161810"/>
                  </a:lnTo>
                  <a:lnTo>
                    <a:pt x="486359" y="19685"/>
                  </a:lnTo>
                  <a:lnTo>
                    <a:pt x="509028" y="76352"/>
                  </a:lnTo>
                  <a:lnTo>
                    <a:pt x="524065" y="73342"/>
                  </a:lnTo>
                  <a:close/>
                </a:path>
                <a:path w="662304" h="485775">
                  <a:moveTo>
                    <a:pt x="602856" y="161810"/>
                  </a:moveTo>
                  <a:lnTo>
                    <a:pt x="587489" y="83756"/>
                  </a:lnTo>
                  <a:lnTo>
                    <a:pt x="195580" y="161810"/>
                  </a:lnTo>
                  <a:lnTo>
                    <a:pt x="272021" y="161810"/>
                  </a:lnTo>
                  <a:lnTo>
                    <a:pt x="575627" y="101460"/>
                  </a:lnTo>
                  <a:lnTo>
                    <a:pt x="587502" y="161810"/>
                  </a:lnTo>
                  <a:lnTo>
                    <a:pt x="602856" y="161810"/>
                  </a:lnTo>
                  <a:close/>
                </a:path>
                <a:path w="662304" h="485775">
                  <a:moveTo>
                    <a:pt x="662025" y="184746"/>
                  </a:moveTo>
                  <a:lnTo>
                    <a:pt x="0" y="184746"/>
                  </a:lnTo>
                  <a:lnTo>
                    <a:pt x="0" y="199986"/>
                  </a:lnTo>
                  <a:lnTo>
                    <a:pt x="0" y="470496"/>
                  </a:lnTo>
                  <a:lnTo>
                    <a:pt x="0" y="485736"/>
                  </a:lnTo>
                  <a:lnTo>
                    <a:pt x="662025" y="485736"/>
                  </a:lnTo>
                  <a:lnTo>
                    <a:pt x="662025" y="470496"/>
                  </a:lnTo>
                  <a:lnTo>
                    <a:pt x="15036" y="470496"/>
                  </a:lnTo>
                  <a:lnTo>
                    <a:pt x="15036" y="199986"/>
                  </a:lnTo>
                  <a:lnTo>
                    <a:pt x="646988" y="199986"/>
                  </a:lnTo>
                  <a:lnTo>
                    <a:pt x="646988" y="470242"/>
                  </a:lnTo>
                  <a:lnTo>
                    <a:pt x="662025" y="470242"/>
                  </a:lnTo>
                  <a:lnTo>
                    <a:pt x="662025" y="199986"/>
                  </a:lnTo>
                  <a:lnTo>
                    <a:pt x="662025" y="199428"/>
                  </a:lnTo>
                  <a:lnTo>
                    <a:pt x="662025" y="184746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5" name="object 25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0190100" y="4469842"/>
              <a:ext cx="108323" cy="135408"/>
            </a:xfrm>
            <a:prstGeom prst="rect">
              <a:avLst/>
            </a:prstGeom>
          </p:spPr>
        </p:pic>
        <p:sp>
          <p:nvSpPr>
            <p:cNvPr id="26" name="object 26"/>
            <p:cNvSpPr/>
            <p:nvPr/>
          </p:nvSpPr>
          <p:spPr>
            <a:xfrm>
              <a:off x="9958349" y="4432236"/>
              <a:ext cx="572135" cy="210820"/>
            </a:xfrm>
            <a:custGeom>
              <a:avLst/>
              <a:gdLst/>
              <a:ahLst/>
              <a:cxnLst/>
              <a:rect l="l" t="t" r="r" b="b"/>
              <a:pathLst>
                <a:path w="572134" h="210820">
                  <a:moveTo>
                    <a:pt x="128308" y="102450"/>
                  </a:moveTo>
                  <a:lnTo>
                    <a:pt x="126873" y="97332"/>
                  </a:lnTo>
                  <a:lnTo>
                    <a:pt x="126771" y="97015"/>
                  </a:lnTo>
                  <a:lnTo>
                    <a:pt x="123939" y="90271"/>
                  </a:lnTo>
                  <a:lnTo>
                    <a:pt x="123837" y="90017"/>
                  </a:lnTo>
                  <a:lnTo>
                    <a:pt x="119189" y="83972"/>
                  </a:lnTo>
                  <a:lnTo>
                    <a:pt x="113144" y="79324"/>
                  </a:lnTo>
                  <a:lnTo>
                    <a:pt x="112839" y="79197"/>
                  </a:lnTo>
                  <a:lnTo>
                    <a:pt x="112839" y="97015"/>
                  </a:lnTo>
                  <a:lnTo>
                    <a:pt x="112839" y="113626"/>
                  </a:lnTo>
                  <a:lnTo>
                    <a:pt x="106108" y="120357"/>
                  </a:lnTo>
                  <a:lnTo>
                    <a:pt x="89484" y="120357"/>
                  </a:lnTo>
                  <a:lnTo>
                    <a:pt x="82753" y="113626"/>
                  </a:lnTo>
                  <a:lnTo>
                    <a:pt x="82753" y="97015"/>
                  </a:lnTo>
                  <a:lnTo>
                    <a:pt x="89484" y="90271"/>
                  </a:lnTo>
                  <a:lnTo>
                    <a:pt x="106108" y="90271"/>
                  </a:lnTo>
                  <a:lnTo>
                    <a:pt x="112839" y="97015"/>
                  </a:lnTo>
                  <a:lnTo>
                    <a:pt x="112839" y="79197"/>
                  </a:lnTo>
                  <a:lnTo>
                    <a:pt x="106006" y="76327"/>
                  </a:lnTo>
                  <a:lnTo>
                    <a:pt x="94043" y="75463"/>
                  </a:lnTo>
                  <a:lnTo>
                    <a:pt x="83058" y="79121"/>
                  </a:lnTo>
                  <a:lnTo>
                    <a:pt x="74256" y="86639"/>
                  </a:lnTo>
                  <a:lnTo>
                    <a:pt x="68973" y="97015"/>
                  </a:lnTo>
                  <a:lnTo>
                    <a:pt x="68897" y="97155"/>
                  </a:lnTo>
                  <a:lnTo>
                    <a:pt x="68808" y="97332"/>
                  </a:lnTo>
                  <a:lnTo>
                    <a:pt x="67386" y="102450"/>
                  </a:lnTo>
                  <a:lnTo>
                    <a:pt x="67335" y="108229"/>
                  </a:lnTo>
                  <a:lnTo>
                    <a:pt x="68757" y="113309"/>
                  </a:lnTo>
                  <a:lnTo>
                    <a:pt x="101625" y="135204"/>
                  </a:lnTo>
                  <a:lnTo>
                    <a:pt x="112598" y="131533"/>
                  </a:lnTo>
                  <a:lnTo>
                    <a:pt x="121412" y="124015"/>
                  </a:lnTo>
                  <a:lnTo>
                    <a:pt x="123253" y="120357"/>
                  </a:lnTo>
                  <a:lnTo>
                    <a:pt x="126834" y="113309"/>
                  </a:lnTo>
                  <a:lnTo>
                    <a:pt x="128257" y="108229"/>
                  </a:lnTo>
                  <a:lnTo>
                    <a:pt x="128308" y="102450"/>
                  </a:lnTo>
                  <a:close/>
                </a:path>
                <a:path w="572134" h="210820">
                  <a:moveTo>
                    <a:pt x="504088" y="103974"/>
                  </a:moveTo>
                  <a:lnTo>
                    <a:pt x="503288" y="97015"/>
                  </a:lnTo>
                  <a:lnTo>
                    <a:pt x="503250" y="96697"/>
                  </a:lnTo>
                  <a:lnTo>
                    <a:pt x="500697" y="90271"/>
                  </a:lnTo>
                  <a:lnTo>
                    <a:pt x="500595" y="90004"/>
                  </a:lnTo>
                  <a:lnTo>
                    <a:pt x="496303" y="84239"/>
                  </a:lnTo>
                  <a:lnTo>
                    <a:pt x="490537" y="79717"/>
                  </a:lnTo>
                  <a:lnTo>
                    <a:pt x="489038" y="79159"/>
                  </a:lnTo>
                  <a:lnTo>
                    <a:pt x="489038" y="97015"/>
                  </a:lnTo>
                  <a:lnTo>
                    <a:pt x="489038" y="113626"/>
                  </a:lnTo>
                  <a:lnTo>
                    <a:pt x="482307" y="120357"/>
                  </a:lnTo>
                  <a:lnTo>
                    <a:pt x="465683" y="120357"/>
                  </a:lnTo>
                  <a:lnTo>
                    <a:pt x="458952" y="113626"/>
                  </a:lnTo>
                  <a:lnTo>
                    <a:pt x="458952" y="97015"/>
                  </a:lnTo>
                  <a:lnTo>
                    <a:pt x="465683" y="90271"/>
                  </a:lnTo>
                  <a:lnTo>
                    <a:pt x="482307" y="90271"/>
                  </a:lnTo>
                  <a:lnTo>
                    <a:pt x="489038" y="97015"/>
                  </a:lnTo>
                  <a:lnTo>
                    <a:pt x="489038" y="79159"/>
                  </a:lnTo>
                  <a:lnTo>
                    <a:pt x="479221" y="75450"/>
                  </a:lnTo>
                  <a:lnTo>
                    <a:pt x="467550" y="75857"/>
                  </a:lnTo>
                  <a:lnTo>
                    <a:pt x="456869" y="80594"/>
                  </a:lnTo>
                  <a:lnTo>
                    <a:pt x="448551" y="89382"/>
                  </a:lnTo>
                  <a:lnTo>
                    <a:pt x="445554" y="94157"/>
                  </a:lnTo>
                  <a:lnTo>
                    <a:pt x="443953" y="99656"/>
                  </a:lnTo>
                  <a:lnTo>
                    <a:pt x="443903" y="105295"/>
                  </a:lnTo>
                  <a:lnTo>
                    <a:pt x="446278" y="117030"/>
                  </a:lnTo>
                  <a:lnTo>
                    <a:pt x="452742" y="126606"/>
                  </a:lnTo>
                  <a:lnTo>
                    <a:pt x="462318" y="133070"/>
                  </a:lnTo>
                  <a:lnTo>
                    <a:pt x="474052" y="135432"/>
                  </a:lnTo>
                  <a:lnTo>
                    <a:pt x="476097" y="135432"/>
                  </a:lnTo>
                  <a:lnTo>
                    <a:pt x="502475" y="114503"/>
                  </a:lnTo>
                  <a:lnTo>
                    <a:pt x="504088" y="103974"/>
                  </a:lnTo>
                  <a:close/>
                </a:path>
                <a:path w="572134" h="210820">
                  <a:moveTo>
                    <a:pt x="571779" y="188061"/>
                  </a:moveTo>
                  <a:lnTo>
                    <a:pt x="571766" y="22567"/>
                  </a:lnTo>
                  <a:lnTo>
                    <a:pt x="564248" y="15049"/>
                  </a:lnTo>
                  <a:lnTo>
                    <a:pt x="556729" y="7531"/>
                  </a:lnTo>
                  <a:lnTo>
                    <a:pt x="556729" y="28803"/>
                  </a:lnTo>
                  <a:lnTo>
                    <a:pt x="556729" y="181851"/>
                  </a:lnTo>
                  <a:lnTo>
                    <a:pt x="543001" y="195592"/>
                  </a:lnTo>
                  <a:lnTo>
                    <a:pt x="36334" y="195592"/>
                  </a:lnTo>
                  <a:lnTo>
                    <a:pt x="15049" y="174332"/>
                  </a:lnTo>
                  <a:lnTo>
                    <a:pt x="15049" y="36334"/>
                  </a:lnTo>
                  <a:lnTo>
                    <a:pt x="36334" y="15049"/>
                  </a:lnTo>
                  <a:lnTo>
                    <a:pt x="543001" y="15049"/>
                  </a:lnTo>
                  <a:lnTo>
                    <a:pt x="556729" y="28803"/>
                  </a:lnTo>
                  <a:lnTo>
                    <a:pt x="556729" y="7531"/>
                  </a:lnTo>
                  <a:lnTo>
                    <a:pt x="549211" y="0"/>
                  </a:lnTo>
                  <a:lnTo>
                    <a:pt x="30099" y="0"/>
                  </a:lnTo>
                  <a:lnTo>
                    <a:pt x="0" y="30086"/>
                  </a:lnTo>
                  <a:lnTo>
                    <a:pt x="0" y="180543"/>
                  </a:lnTo>
                  <a:lnTo>
                    <a:pt x="30099" y="210629"/>
                  </a:lnTo>
                  <a:lnTo>
                    <a:pt x="549211" y="210629"/>
                  </a:lnTo>
                  <a:lnTo>
                    <a:pt x="564248" y="195592"/>
                  </a:lnTo>
                  <a:lnTo>
                    <a:pt x="571779" y="188061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7" name="object 27"/>
          <p:cNvSpPr/>
          <p:nvPr/>
        </p:nvSpPr>
        <p:spPr>
          <a:xfrm>
            <a:off x="7870644" y="4192481"/>
            <a:ext cx="590550" cy="589280"/>
          </a:xfrm>
          <a:custGeom>
            <a:avLst/>
            <a:gdLst/>
            <a:ahLst/>
            <a:cxnLst/>
            <a:rect l="l" t="t" r="r" b="b"/>
            <a:pathLst>
              <a:path w="590550" h="589279">
                <a:moveTo>
                  <a:pt x="387995" y="376130"/>
                </a:moveTo>
                <a:lnTo>
                  <a:pt x="366652" y="376130"/>
                </a:lnTo>
                <a:lnTo>
                  <a:pt x="397945" y="407431"/>
                </a:lnTo>
                <a:lnTo>
                  <a:pt x="393415" y="414055"/>
                </a:lnTo>
                <a:lnTo>
                  <a:pt x="389898" y="421223"/>
                </a:lnTo>
                <a:lnTo>
                  <a:pt x="387441" y="428820"/>
                </a:lnTo>
                <a:lnTo>
                  <a:pt x="386091" y="436732"/>
                </a:lnTo>
                <a:lnTo>
                  <a:pt x="386114" y="446210"/>
                </a:lnTo>
                <a:lnTo>
                  <a:pt x="503605" y="576930"/>
                </a:lnTo>
                <a:lnTo>
                  <a:pt x="533770" y="588966"/>
                </a:lnTo>
                <a:lnTo>
                  <a:pt x="544689" y="587702"/>
                </a:lnTo>
                <a:lnTo>
                  <a:pt x="555056" y="584378"/>
                </a:lnTo>
                <a:lnTo>
                  <a:pt x="564588" y="579118"/>
                </a:lnTo>
                <a:lnTo>
                  <a:pt x="570946" y="573773"/>
                </a:lnTo>
                <a:lnTo>
                  <a:pt x="537303" y="573773"/>
                </a:lnTo>
                <a:lnTo>
                  <a:pt x="524749" y="572602"/>
                </a:lnTo>
                <a:lnTo>
                  <a:pt x="514274" y="566298"/>
                </a:lnTo>
                <a:lnTo>
                  <a:pt x="408546" y="460384"/>
                </a:lnTo>
                <a:lnTo>
                  <a:pt x="402835" y="454416"/>
                </a:lnTo>
                <a:lnTo>
                  <a:pt x="400102" y="446210"/>
                </a:lnTo>
                <a:lnTo>
                  <a:pt x="401086" y="438011"/>
                </a:lnTo>
                <a:lnTo>
                  <a:pt x="402476" y="430832"/>
                </a:lnTo>
                <a:lnTo>
                  <a:pt x="404992" y="424268"/>
                </a:lnTo>
                <a:lnTo>
                  <a:pt x="405074" y="424054"/>
                </a:lnTo>
                <a:lnTo>
                  <a:pt x="408722" y="417969"/>
                </a:lnTo>
                <a:lnTo>
                  <a:pt x="408806" y="417830"/>
                </a:lnTo>
                <a:lnTo>
                  <a:pt x="413598" y="412308"/>
                </a:lnTo>
                <a:lnTo>
                  <a:pt x="425632" y="403692"/>
                </a:lnTo>
                <a:lnTo>
                  <a:pt x="438707" y="399890"/>
                </a:lnTo>
                <a:lnTo>
                  <a:pt x="475535" y="399890"/>
                </a:lnTo>
                <a:lnTo>
                  <a:pt x="472380" y="396730"/>
                </a:lnTo>
                <a:lnTo>
                  <a:pt x="408590" y="396730"/>
                </a:lnTo>
                <a:lnTo>
                  <a:pt x="387995" y="376130"/>
                </a:lnTo>
                <a:close/>
              </a:path>
              <a:path w="590550" h="589279">
                <a:moveTo>
                  <a:pt x="475535" y="399890"/>
                </a:moveTo>
                <a:lnTo>
                  <a:pt x="438707" y="399890"/>
                </a:lnTo>
                <a:lnTo>
                  <a:pt x="451264" y="401064"/>
                </a:lnTo>
                <a:lnTo>
                  <a:pt x="461798" y="407431"/>
                </a:lnTo>
                <a:lnTo>
                  <a:pt x="567483" y="513288"/>
                </a:lnTo>
                <a:lnTo>
                  <a:pt x="573188" y="519256"/>
                </a:lnTo>
                <a:lnTo>
                  <a:pt x="575932" y="527572"/>
                </a:lnTo>
                <a:lnTo>
                  <a:pt x="574943" y="535655"/>
                </a:lnTo>
                <a:lnTo>
                  <a:pt x="550376" y="569973"/>
                </a:lnTo>
                <a:lnTo>
                  <a:pt x="537303" y="573773"/>
                </a:lnTo>
                <a:lnTo>
                  <a:pt x="570946" y="573773"/>
                </a:lnTo>
                <a:lnTo>
                  <a:pt x="589925" y="536985"/>
                </a:lnTo>
                <a:lnTo>
                  <a:pt x="589908" y="527572"/>
                </a:lnTo>
                <a:lnTo>
                  <a:pt x="587864" y="518497"/>
                </a:lnTo>
                <a:lnTo>
                  <a:pt x="583904" y="510083"/>
                </a:lnTo>
                <a:lnTo>
                  <a:pt x="578140" y="502656"/>
                </a:lnTo>
                <a:lnTo>
                  <a:pt x="475535" y="399890"/>
                </a:lnTo>
                <a:close/>
              </a:path>
              <a:path w="590550" h="589279">
                <a:moveTo>
                  <a:pt x="232880" y="0"/>
                </a:moveTo>
                <a:lnTo>
                  <a:pt x="185190" y="1839"/>
                </a:lnTo>
                <a:lnTo>
                  <a:pt x="138825" y="14054"/>
                </a:lnTo>
                <a:lnTo>
                  <a:pt x="95634" y="36572"/>
                </a:lnTo>
                <a:lnTo>
                  <a:pt x="57466" y="69323"/>
                </a:lnTo>
                <a:lnTo>
                  <a:pt x="27743" y="109899"/>
                </a:lnTo>
                <a:lnTo>
                  <a:pt x="8611" y="154696"/>
                </a:lnTo>
                <a:lnTo>
                  <a:pt x="0" y="201864"/>
                </a:lnTo>
                <a:lnTo>
                  <a:pt x="1836" y="249555"/>
                </a:lnTo>
                <a:lnTo>
                  <a:pt x="14051" y="295921"/>
                </a:lnTo>
                <a:lnTo>
                  <a:pt x="36571" y="339114"/>
                </a:lnTo>
                <a:lnTo>
                  <a:pt x="69326" y="377284"/>
                </a:lnTo>
                <a:lnTo>
                  <a:pt x="107874" y="405830"/>
                </a:lnTo>
                <a:lnTo>
                  <a:pt x="150424" y="424795"/>
                </a:lnTo>
                <a:lnTo>
                  <a:pt x="195359" y="434186"/>
                </a:lnTo>
                <a:lnTo>
                  <a:pt x="241066" y="434008"/>
                </a:lnTo>
                <a:lnTo>
                  <a:pt x="285927" y="424268"/>
                </a:lnTo>
                <a:lnTo>
                  <a:pt x="296767" y="419336"/>
                </a:lnTo>
                <a:lnTo>
                  <a:pt x="202907" y="419336"/>
                </a:lnTo>
                <a:lnTo>
                  <a:pt x="195980" y="418828"/>
                </a:lnTo>
                <a:lnTo>
                  <a:pt x="142203" y="405469"/>
                </a:lnTo>
                <a:lnTo>
                  <a:pt x="105441" y="385972"/>
                </a:lnTo>
                <a:lnTo>
                  <a:pt x="69979" y="356009"/>
                </a:lnTo>
                <a:lnTo>
                  <a:pt x="42554" y="319271"/>
                </a:lnTo>
                <a:lnTo>
                  <a:pt x="24074" y="277314"/>
                </a:lnTo>
                <a:lnTo>
                  <a:pt x="15447" y="231694"/>
                </a:lnTo>
                <a:lnTo>
                  <a:pt x="126961" y="231694"/>
                </a:lnTo>
                <a:lnTo>
                  <a:pt x="129838" y="229625"/>
                </a:lnTo>
                <a:lnTo>
                  <a:pt x="134163" y="216649"/>
                </a:lnTo>
                <a:lnTo>
                  <a:pt x="14826" y="216649"/>
                </a:lnTo>
                <a:lnTo>
                  <a:pt x="18707" y="176835"/>
                </a:lnTo>
                <a:lnTo>
                  <a:pt x="30196" y="138912"/>
                </a:lnTo>
                <a:lnTo>
                  <a:pt x="48849" y="103952"/>
                </a:lnTo>
                <a:lnTo>
                  <a:pt x="74222" y="73028"/>
                </a:lnTo>
                <a:lnTo>
                  <a:pt x="112896" y="42681"/>
                </a:lnTo>
                <a:lnTo>
                  <a:pt x="157075" y="22741"/>
                </a:lnTo>
                <a:lnTo>
                  <a:pt x="204722" y="13846"/>
                </a:lnTo>
                <a:lnTo>
                  <a:pt x="292314" y="13846"/>
                </a:lnTo>
                <a:lnTo>
                  <a:pt x="280046" y="8608"/>
                </a:lnTo>
                <a:lnTo>
                  <a:pt x="232880" y="0"/>
                </a:lnTo>
                <a:close/>
              </a:path>
              <a:path w="590550" h="589279">
                <a:moveTo>
                  <a:pt x="434701" y="231694"/>
                </a:moveTo>
                <a:lnTo>
                  <a:pt x="420243" y="231694"/>
                </a:lnTo>
                <a:lnTo>
                  <a:pt x="411570" y="277314"/>
                </a:lnTo>
                <a:lnTo>
                  <a:pt x="411491" y="277733"/>
                </a:lnTo>
                <a:lnTo>
                  <a:pt x="393107" y="319271"/>
                </a:lnTo>
                <a:lnTo>
                  <a:pt x="366471" y="355083"/>
                </a:lnTo>
                <a:lnTo>
                  <a:pt x="332814" y="384142"/>
                </a:lnTo>
                <a:lnTo>
                  <a:pt x="293464" y="405288"/>
                </a:lnTo>
                <a:lnTo>
                  <a:pt x="249726" y="417394"/>
                </a:lnTo>
                <a:lnTo>
                  <a:pt x="202907" y="419336"/>
                </a:lnTo>
                <a:lnTo>
                  <a:pt x="296767" y="419336"/>
                </a:lnTo>
                <a:lnTo>
                  <a:pt x="328327" y="404974"/>
                </a:lnTo>
                <a:lnTo>
                  <a:pt x="366652" y="376130"/>
                </a:lnTo>
                <a:lnTo>
                  <a:pt x="387995" y="376130"/>
                </a:lnTo>
                <a:lnTo>
                  <a:pt x="377284" y="365417"/>
                </a:lnTo>
                <a:lnTo>
                  <a:pt x="407005" y="324840"/>
                </a:lnTo>
                <a:lnTo>
                  <a:pt x="426136" y="280044"/>
                </a:lnTo>
                <a:lnTo>
                  <a:pt x="434746" y="232875"/>
                </a:lnTo>
                <a:lnTo>
                  <a:pt x="434701" y="231694"/>
                </a:lnTo>
                <a:close/>
              </a:path>
              <a:path w="590550" h="589279">
                <a:moveTo>
                  <a:pt x="442015" y="384745"/>
                </a:moveTo>
                <a:lnTo>
                  <a:pt x="424831" y="387808"/>
                </a:lnTo>
                <a:lnTo>
                  <a:pt x="408590" y="396730"/>
                </a:lnTo>
                <a:lnTo>
                  <a:pt x="472380" y="396730"/>
                </a:lnTo>
                <a:lnTo>
                  <a:pt x="458434" y="387674"/>
                </a:lnTo>
                <a:lnTo>
                  <a:pt x="442015" y="384745"/>
                </a:lnTo>
                <a:close/>
              </a:path>
              <a:path w="590550" h="589279">
                <a:moveTo>
                  <a:pt x="174588" y="141672"/>
                </a:moveTo>
                <a:lnTo>
                  <a:pt x="195202" y="335865"/>
                </a:lnTo>
                <a:lnTo>
                  <a:pt x="205101" y="338673"/>
                </a:lnTo>
                <a:lnTo>
                  <a:pt x="207884" y="336761"/>
                </a:lnTo>
                <a:lnTo>
                  <a:pt x="220748" y="303498"/>
                </a:lnTo>
                <a:lnTo>
                  <a:pt x="204505" y="303498"/>
                </a:lnTo>
                <a:lnTo>
                  <a:pt x="174588" y="141672"/>
                </a:lnTo>
                <a:close/>
              </a:path>
              <a:path w="590550" h="589279">
                <a:moveTo>
                  <a:pt x="268722" y="155652"/>
                </a:moveTo>
                <a:lnTo>
                  <a:pt x="262378" y="157345"/>
                </a:lnTo>
                <a:lnTo>
                  <a:pt x="260485" y="159044"/>
                </a:lnTo>
                <a:lnTo>
                  <a:pt x="259626" y="161300"/>
                </a:lnTo>
                <a:lnTo>
                  <a:pt x="204636" y="303498"/>
                </a:lnTo>
                <a:lnTo>
                  <a:pt x="220748" y="303498"/>
                </a:lnTo>
                <a:lnTo>
                  <a:pt x="265249" y="188426"/>
                </a:lnTo>
                <a:lnTo>
                  <a:pt x="280986" y="188426"/>
                </a:lnTo>
                <a:lnTo>
                  <a:pt x="272847" y="158034"/>
                </a:lnTo>
                <a:lnTo>
                  <a:pt x="268722" y="155652"/>
                </a:lnTo>
                <a:close/>
              </a:path>
              <a:path w="590550" h="589279">
                <a:moveTo>
                  <a:pt x="280986" y="188426"/>
                </a:moveTo>
                <a:lnTo>
                  <a:pt x="265393" y="188426"/>
                </a:lnTo>
                <a:lnTo>
                  <a:pt x="290562" y="282805"/>
                </a:lnTo>
                <a:lnTo>
                  <a:pt x="290700" y="282805"/>
                </a:lnTo>
                <a:lnTo>
                  <a:pt x="294662" y="285093"/>
                </a:lnTo>
                <a:lnTo>
                  <a:pt x="300141" y="283632"/>
                </a:lnTo>
                <a:lnTo>
                  <a:pt x="301451" y="282805"/>
                </a:lnTo>
                <a:lnTo>
                  <a:pt x="320186" y="260983"/>
                </a:lnTo>
                <a:lnTo>
                  <a:pt x="300416" y="260983"/>
                </a:lnTo>
                <a:lnTo>
                  <a:pt x="280986" y="188426"/>
                </a:lnTo>
                <a:close/>
              </a:path>
              <a:path w="590550" h="589279">
                <a:moveTo>
                  <a:pt x="292314" y="13846"/>
                </a:moveTo>
                <a:lnTo>
                  <a:pt x="204722" y="13846"/>
                </a:lnTo>
                <a:lnTo>
                  <a:pt x="253802" y="16632"/>
                </a:lnTo>
                <a:lnTo>
                  <a:pt x="274672" y="21394"/>
                </a:lnTo>
                <a:lnTo>
                  <a:pt x="314127" y="37538"/>
                </a:lnTo>
                <a:lnTo>
                  <a:pt x="369590" y="81534"/>
                </a:lnTo>
                <a:lnTo>
                  <a:pt x="397432" y="121729"/>
                </a:lnTo>
                <a:lnTo>
                  <a:pt x="414861" y="167414"/>
                </a:lnTo>
                <a:lnTo>
                  <a:pt x="420857" y="216649"/>
                </a:lnTo>
                <a:lnTo>
                  <a:pt x="339677" y="216649"/>
                </a:lnTo>
                <a:lnTo>
                  <a:pt x="337596" y="217608"/>
                </a:lnTo>
                <a:lnTo>
                  <a:pt x="300416" y="260983"/>
                </a:lnTo>
                <a:lnTo>
                  <a:pt x="320186" y="260983"/>
                </a:lnTo>
                <a:lnTo>
                  <a:pt x="345332" y="231694"/>
                </a:lnTo>
                <a:lnTo>
                  <a:pt x="434701" y="231694"/>
                </a:lnTo>
                <a:lnTo>
                  <a:pt x="433033" y="188426"/>
                </a:lnTo>
                <a:lnTo>
                  <a:pt x="420718" y="138912"/>
                </a:lnTo>
                <a:lnTo>
                  <a:pt x="398172" y="95625"/>
                </a:lnTo>
                <a:lnTo>
                  <a:pt x="365417" y="57456"/>
                </a:lnTo>
                <a:lnTo>
                  <a:pt x="324842" y="27736"/>
                </a:lnTo>
                <a:lnTo>
                  <a:pt x="292314" y="13846"/>
                </a:lnTo>
                <a:close/>
              </a:path>
              <a:path w="590550" h="589279">
                <a:moveTo>
                  <a:pt x="164047" y="103181"/>
                </a:moveTo>
                <a:lnTo>
                  <a:pt x="157270" y="104435"/>
                </a:lnTo>
                <a:lnTo>
                  <a:pt x="155063" y="106359"/>
                </a:lnTo>
                <a:lnTo>
                  <a:pt x="118298" y="216649"/>
                </a:lnTo>
                <a:lnTo>
                  <a:pt x="134163" y="216649"/>
                </a:lnTo>
                <a:lnTo>
                  <a:pt x="159151" y="141672"/>
                </a:lnTo>
                <a:lnTo>
                  <a:pt x="174588" y="141672"/>
                </a:lnTo>
                <a:lnTo>
                  <a:pt x="168060" y="106359"/>
                </a:lnTo>
                <a:lnTo>
                  <a:pt x="167971" y="105877"/>
                </a:lnTo>
                <a:lnTo>
                  <a:pt x="164047" y="10318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 txBox="1"/>
          <p:nvPr/>
        </p:nvSpPr>
        <p:spPr>
          <a:xfrm>
            <a:off x="0" y="1391754"/>
            <a:ext cx="12192000" cy="597535"/>
          </a:xfrm>
          <a:prstGeom prst="rect">
            <a:avLst/>
          </a:prstGeom>
          <a:solidFill>
            <a:schemeClr val="accent5"/>
          </a:solidFill>
          <a:ln w="9525">
            <a:solidFill>
              <a:srgbClr val="6E6E6E"/>
            </a:solidFill>
          </a:ln>
        </p:spPr>
        <p:txBody>
          <a:bodyPr vert="horz" wrap="square" lIns="0" tIns="115570" rIns="0" bIns="0" rtlCol="0">
            <a:spAutoFit/>
          </a:bodyPr>
          <a:lstStyle/>
          <a:p>
            <a:pPr marL="544195" marR="636270">
              <a:lnSpc>
                <a:spcPct val="100000"/>
              </a:lnSpc>
              <a:spcBef>
                <a:spcPts val="910"/>
              </a:spcBef>
            </a:pPr>
            <a:r>
              <a:rPr sz="1200" dirty="0">
                <a:latin typeface="Calibri"/>
                <a:cs typeface="Calibri"/>
              </a:rPr>
              <a:t>The</a:t>
            </a:r>
            <a:r>
              <a:rPr sz="1200" spc="-20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insurance</a:t>
            </a:r>
            <a:r>
              <a:rPr sz="1200" spc="-30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industry</a:t>
            </a:r>
            <a:r>
              <a:rPr sz="1200" spc="-4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faces numerous</a:t>
            </a:r>
            <a:r>
              <a:rPr sz="1200" spc="-25" dirty="0">
                <a:latin typeface="Calibri"/>
                <a:cs typeface="Calibri"/>
              </a:rPr>
              <a:t> </a:t>
            </a:r>
            <a:r>
              <a:rPr sz="1200" b="1" u="sng" dirty="0">
                <a:uFill>
                  <a:solidFill>
                    <a:srgbClr val="000000"/>
                  </a:solidFill>
                </a:uFill>
                <a:latin typeface="Calibri"/>
                <a:cs typeface="Calibri"/>
              </a:rPr>
              <a:t>complex</a:t>
            </a:r>
            <a:r>
              <a:rPr sz="1200" b="1" spc="-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and</a:t>
            </a:r>
            <a:r>
              <a:rPr sz="1200" spc="-30" dirty="0">
                <a:latin typeface="Calibri"/>
                <a:cs typeface="Calibri"/>
              </a:rPr>
              <a:t> </a:t>
            </a:r>
            <a:r>
              <a:rPr sz="1200" b="1" u="sng" spc="-10" dirty="0">
                <a:uFill>
                  <a:solidFill>
                    <a:srgbClr val="000000"/>
                  </a:solidFill>
                </a:uFill>
                <a:latin typeface="Calibri"/>
                <a:cs typeface="Calibri"/>
              </a:rPr>
              <a:t>time-</a:t>
            </a:r>
            <a:r>
              <a:rPr sz="1200" b="1" u="sng" dirty="0">
                <a:uFill>
                  <a:solidFill>
                    <a:srgbClr val="000000"/>
                  </a:solidFill>
                </a:uFill>
                <a:latin typeface="Calibri"/>
                <a:cs typeface="Calibri"/>
              </a:rPr>
              <a:t>consuming</a:t>
            </a:r>
            <a:r>
              <a:rPr sz="1200" b="1" u="sng" spc="-15" dirty="0">
                <a:uFill>
                  <a:solidFill>
                    <a:srgbClr val="000000"/>
                  </a:solidFill>
                </a:uFill>
                <a:latin typeface="Calibri"/>
                <a:cs typeface="Calibri"/>
              </a:rPr>
              <a:t> </a:t>
            </a:r>
            <a:r>
              <a:rPr sz="1200" b="1" u="sng" spc="-10" dirty="0">
                <a:uFill>
                  <a:solidFill>
                    <a:srgbClr val="000000"/>
                  </a:solidFill>
                </a:uFill>
                <a:latin typeface="Calibri"/>
                <a:cs typeface="Calibri"/>
              </a:rPr>
              <a:t>procedures</a:t>
            </a:r>
            <a:r>
              <a:rPr sz="1200" b="1" spc="-1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that</a:t>
            </a:r>
            <a:r>
              <a:rPr sz="1200" spc="-2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can</a:t>
            </a:r>
            <a:r>
              <a:rPr sz="1200" spc="-1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benefit</a:t>
            </a:r>
            <a:r>
              <a:rPr sz="1200" spc="-40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greatly</a:t>
            </a:r>
            <a:r>
              <a:rPr sz="1200" spc="-3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from</a:t>
            </a:r>
            <a:r>
              <a:rPr sz="1200" spc="-20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artificial</a:t>
            </a:r>
            <a:r>
              <a:rPr sz="1200" spc="-30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intelligence.</a:t>
            </a:r>
            <a:r>
              <a:rPr sz="1200" spc="-30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Having</a:t>
            </a:r>
            <a:r>
              <a:rPr sz="1200" spc="-20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industry-</a:t>
            </a:r>
            <a:r>
              <a:rPr sz="1200" spc="-10" dirty="0">
                <a:latin typeface="Calibri"/>
                <a:cs typeface="Calibri"/>
              </a:rPr>
              <a:t>focused</a:t>
            </a:r>
            <a:r>
              <a:rPr sz="1200" spc="-3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LLMs</a:t>
            </a:r>
            <a:r>
              <a:rPr sz="1200" spc="-20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help</a:t>
            </a:r>
            <a:r>
              <a:rPr sz="1200" spc="-25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automate </a:t>
            </a:r>
            <a:r>
              <a:rPr sz="1200" dirty="0">
                <a:latin typeface="Calibri"/>
                <a:cs typeface="Calibri"/>
              </a:rPr>
              <a:t>various</a:t>
            </a:r>
            <a:r>
              <a:rPr sz="1200" spc="-3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aspects</a:t>
            </a:r>
            <a:r>
              <a:rPr sz="1200" spc="-10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of</a:t>
            </a:r>
            <a:r>
              <a:rPr sz="1200" spc="5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insurance</a:t>
            </a:r>
            <a:r>
              <a:rPr sz="1200" spc="-40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operations,</a:t>
            </a:r>
            <a:r>
              <a:rPr sz="1200" spc="-25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offering</a:t>
            </a:r>
            <a:r>
              <a:rPr sz="1200" spc="-45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increased</a:t>
            </a:r>
            <a:r>
              <a:rPr sz="1200" spc="-20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efficiency,</a:t>
            </a:r>
            <a:r>
              <a:rPr sz="1200" spc="-20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accuracy, </a:t>
            </a:r>
            <a:r>
              <a:rPr sz="1200" dirty="0">
                <a:latin typeface="Calibri"/>
                <a:cs typeface="Calibri"/>
              </a:rPr>
              <a:t>and</a:t>
            </a:r>
            <a:r>
              <a:rPr sz="1200" spc="-20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cost</a:t>
            </a:r>
            <a:r>
              <a:rPr sz="1200" spc="-5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savings.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29" name="object 29"/>
          <p:cNvSpPr txBox="1">
            <a:spLocks noGrp="1"/>
          </p:cNvSpPr>
          <p:nvPr>
            <p:ph type="title"/>
          </p:nvPr>
        </p:nvSpPr>
        <p:spPr>
          <a:xfrm flipH="1">
            <a:off x="335360" y="116632"/>
            <a:ext cx="11017224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800" cap="all" dirty="0">
                <a:solidFill>
                  <a:schemeClr val="tx2"/>
                </a:solidFill>
                <a:latin typeface="Verdana" panose="020B0604030504040204" pitchFamily="34" charset="0"/>
                <a:cs typeface="+mj-cs"/>
              </a:rPr>
              <a:t>LARGE LANGUAGE MODELS IN INSURANCE</a:t>
            </a:r>
          </a:p>
        </p:txBody>
      </p:sp>
      <p:sp>
        <p:nvSpPr>
          <p:cNvPr id="36" name="object 36"/>
          <p:cNvSpPr txBox="1"/>
          <p:nvPr/>
        </p:nvSpPr>
        <p:spPr>
          <a:xfrm>
            <a:off x="7723885" y="496951"/>
            <a:ext cx="400494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73355" algn="ctr">
              <a:lnSpc>
                <a:spcPct val="100000"/>
              </a:lnSpc>
              <a:spcBef>
                <a:spcPts val="100"/>
              </a:spcBef>
            </a:pPr>
            <a:r>
              <a:rPr sz="1200" b="1" spc="-155" dirty="0">
                <a:solidFill>
                  <a:srgbClr val="FFFFFF"/>
                </a:solidFill>
                <a:latin typeface="Trebuchet MS"/>
                <a:cs typeface="Trebuchet MS"/>
              </a:rPr>
              <a:t>POTENTIAL</a:t>
            </a:r>
            <a:r>
              <a:rPr sz="1200" b="1" spc="-85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200" b="1" spc="-140" dirty="0">
                <a:solidFill>
                  <a:srgbClr val="FFFFFF"/>
                </a:solidFill>
                <a:latin typeface="Trebuchet MS"/>
                <a:cs typeface="Trebuchet MS"/>
              </a:rPr>
              <a:t>USE</a:t>
            </a:r>
            <a:r>
              <a:rPr sz="1200" b="1" spc="-90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200" b="1" spc="-10" dirty="0">
                <a:solidFill>
                  <a:srgbClr val="FFFFFF"/>
                </a:solidFill>
                <a:latin typeface="Trebuchet MS"/>
                <a:cs typeface="Trebuchet MS"/>
              </a:rPr>
              <a:t>CASES</a:t>
            </a:r>
            <a:endParaRPr sz="1200">
              <a:latin typeface="Trebuchet MS"/>
              <a:cs typeface="Trebuchet MS"/>
            </a:endParaRPr>
          </a:p>
        </p:txBody>
      </p:sp>
      <p:grpSp>
        <p:nvGrpSpPr>
          <p:cNvPr id="37" name="object 37"/>
          <p:cNvGrpSpPr/>
          <p:nvPr/>
        </p:nvGrpSpPr>
        <p:grpSpPr>
          <a:xfrm>
            <a:off x="7763431" y="402567"/>
            <a:ext cx="419734" cy="419734"/>
            <a:chOff x="7763431" y="402567"/>
            <a:chExt cx="419734" cy="419734"/>
          </a:xfrm>
        </p:grpSpPr>
        <p:sp>
          <p:nvSpPr>
            <p:cNvPr id="38" name="object 38"/>
            <p:cNvSpPr/>
            <p:nvPr/>
          </p:nvSpPr>
          <p:spPr>
            <a:xfrm>
              <a:off x="7773921" y="413057"/>
              <a:ext cx="398780" cy="398780"/>
            </a:xfrm>
            <a:custGeom>
              <a:avLst/>
              <a:gdLst/>
              <a:ahLst/>
              <a:cxnLst/>
              <a:rect l="l" t="t" r="r" b="b"/>
              <a:pathLst>
                <a:path w="398779" h="398780">
                  <a:moveTo>
                    <a:pt x="199379" y="0"/>
                  </a:moveTo>
                  <a:lnTo>
                    <a:pt x="153471" y="5276"/>
                  </a:lnTo>
                  <a:lnTo>
                    <a:pt x="111546" y="20271"/>
                  </a:lnTo>
                  <a:lnTo>
                    <a:pt x="74571" y="43789"/>
                  </a:lnTo>
                  <a:lnTo>
                    <a:pt x="43736" y="74635"/>
                  </a:lnTo>
                  <a:lnTo>
                    <a:pt x="20234" y="111612"/>
                  </a:lnTo>
                  <a:lnTo>
                    <a:pt x="5258" y="153526"/>
                  </a:lnTo>
                  <a:lnTo>
                    <a:pt x="0" y="199180"/>
                  </a:lnTo>
                  <a:lnTo>
                    <a:pt x="5260" y="244854"/>
                  </a:lnTo>
                  <a:lnTo>
                    <a:pt x="20245" y="286782"/>
                  </a:lnTo>
                  <a:lnTo>
                    <a:pt x="43759" y="323768"/>
                  </a:lnTo>
                  <a:lnTo>
                    <a:pt x="74606" y="354616"/>
                  </a:lnTo>
                  <a:lnTo>
                    <a:pt x="111591" y="378131"/>
                  </a:lnTo>
                  <a:lnTo>
                    <a:pt x="153518" y="393117"/>
                  </a:lnTo>
                  <a:lnTo>
                    <a:pt x="199192" y="398378"/>
                  </a:lnTo>
                  <a:lnTo>
                    <a:pt x="244864" y="393117"/>
                  </a:lnTo>
                  <a:lnTo>
                    <a:pt x="259492" y="387889"/>
                  </a:lnTo>
                  <a:lnTo>
                    <a:pt x="199192" y="387889"/>
                  </a:lnTo>
                  <a:lnTo>
                    <a:pt x="149027" y="381148"/>
                  </a:lnTo>
                  <a:lnTo>
                    <a:pt x="103950" y="362124"/>
                  </a:lnTo>
                  <a:lnTo>
                    <a:pt x="65759" y="332617"/>
                  </a:lnTo>
                  <a:lnTo>
                    <a:pt x="36252" y="294425"/>
                  </a:lnTo>
                  <a:lnTo>
                    <a:pt x="17230" y="249346"/>
                  </a:lnTo>
                  <a:lnTo>
                    <a:pt x="10489" y="199180"/>
                  </a:lnTo>
                  <a:lnTo>
                    <a:pt x="17274" y="149038"/>
                  </a:lnTo>
                  <a:lnTo>
                    <a:pt x="36315" y="103980"/>
                  </a:lnTo>
                  <a:lnTo>
                    <a:pt x="65821" y="65802"/>
                  </a:lnTo>
                  <a:lnTo>
                    <a:pt x="103997" y="36298"/>
                  </a:lnTo>
                  <a:lnTo>
                    <a:pt x="149051" y="17263"/>
                  </a:lnTo>
                  <a:lnTo>
                    <a:pt x="199191" y="10489"/>
                  </a:lnTo>
                  <a:lnTo>
                    <a:pt x="259593" y="10489"/>
                  </a:lnTo>
                  <a:lnTo>
                    <a:pt x="245026" y="5276"/>
                  </a:lnTo>
                  <a:lnTo>
                    <a:pt x="199379" y="0"/>
                  </a:lnTo>
                  <a:close/>
                </a:path>
                <a:path w="398779" h="398780">
                  <a:moveTo>
                    <a:pt x="259593" y="10489"/>
                  </a:moveTo>
                  <a:lnTo>
                    <a:pt x="199191" y="10489"/>
                  </a:lnTo>
                  <a:lnTo>
                    <a:pt x="249605" y="17263"/>
                  </a:lnTo>
                  <a:lnTo>
                    <a:pt x="249434" y="17263"/>
                  </a:lnTo>
                  <a:lnTo>
                    <a:pt x="294494" y="36299"/>
                  </a:lnTo>
                  <a:lnTo>
                    <a:pt x="332659" y="65803"/>
                  </a:lnTo>
                  <a:lnTo>
                    <a:pt x="362143" y="103981"/>
                  </a:lnTo>
                  <a:lnTo>
                    <a:pt x="381152" y="149038"/>
                  </a:lnTo>
                  <a:lnTo>
                    <a:pt x="387889" y="199181"/>
                  </a:lnTo>
                  <a:lnTo>
                    <a:pt x="381149" y="249347"/>
                  </a:lnTo>
                  <a:lnTo>
                    <a:pt x="362126" y="294425"/>
                  </a:lnTo>
                  <a:lnTo>
                    <a:pt x="332620" y="332618"/>
                  </a:lnTo>
                  <a:lnTo>
                    <a:pt x="294430" y="362125"/>
                  </a:lnTo>
                  <a:lnTo>
                    <a:pt x="249354" y="381148"/>
                  </a:lnTo>
                  <a:lnTo>
                    <a:pt x="199192" y="387889"/>
                  </a:lnTo>
                  <a:lnTo>
                    <a:pt x="259492" y="387889"/>
                  </a:lnTo>
                  <a:lnTo>
                    <a:pt x="323773" y="354617"/>
                  </a:lnTo>
                  <a:lnTo>
                    <a:pt x="354620" y="323768"/>
                  </a:lnTo>
                  <a:lnTo>
                    <a:pt x="378133" y="286782"/>
                  </a:lnTo>
                  <a:lnTo>
                    <a:pt x="393118" y="244854"/>
                  </a:lnTo>
                  <a:lnTo>
                    <a:pt x="398379" y="199181"/>
                  </a:lnTo>
                  <a:lnTo>
                    <a:pt x="393139" y="153526"/>
                  </a:lnTo>
                  <a:lnTo>
                    <a:pt x="378180" y="111613"/>
                  </a:lnTo>
                  <a:lnTo>
                    <a:pt x="354695" y="74635"/>
                  </a:lnTo>
                  <a:lnTo>
                    <a:pt x="323879" y="43790"/>
                  </a:lnTo>
                  <a:lnTo>
                    <a:pt x="286924" y="20271"/>
                  </a:lnTo>
                  <a:lnTo>
                    <a:pt x="259593" y="10489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" name="object 39"/>
            <p:cNvSpPr/>
            <p:nvPr/>
          </p:nvSpPr>
          <p:spPr>
            <a:xfrm>
              <a:off x="7773921" y="413057"/>
              <a:ext cx="398780" cy="398780"/>
            </a:xfrm>
            <a:custGeom>
              <a:avLst/>
              <a:gdLst/>
              <a:ahLst/>
              <a:cxnLst/>
              <a:rect l="l" t="t" r="r" b="b"/>
              <a:pathLst>
                <a:path w="398779" h="398780">
                  <a:moveTo>
                    <a:pt x="199191" y="10489"/>
                  </a:moveTo>
                  <a:lnTo>
                    <a:pt x="249354" y="17229"/>
                  </a:lnTo>
                  <a:lnTo>
                    <a:pt x="294430" y="36249"/>
                  </a:lnTo>
                  <a:lnTo>
                    <a:pt x="332620" y="65752"/>
                  </a:lnTo>
                  <a:lnTo>
                    <a:pt x="362126" y="103940"/>
                  </a:lnTo>
                  <a:lnTo>
                    <a:pt x="381149" y="149015"/>
                  </a:lnTo>
                  <a:lnTo>
                    <a:pt x="387889" y="199181"/>
                  </a:lnTo>
                  <a:lnTo>
                    <a:pt x="381149" y="249347"/>
                  </a:lnTo>
                  <a:lnTo>
                    <a:pt x="362126" y="294425"/>
                  </a:lnTo>
                  <a:lnTo>
                    <a:pt x="332620" y="332618"/>
                  </a:lnTo>
                  <a:lnTo>
                    <a:pt x="294430" y="362125"/>
                  </a:lnTo>
                  <a:lnTo>
                    <a:pt x="249354" y="381148"/>
                  </a:lnTo>
                  <a:lnTo>
                    <a:pt x="199192" y="387889"/>
                  </a:lnTo>
                  <a:lnTo>
                    <a:pt x="149027" y="381148"/>
                  </a:lnTo>
                  <a:lnTo>
                    <a:pt x="103950" y="362124"/>
                  </a:lnTo>
                  <a:lnTo>
                    <a:pt x="65759" y="332617"/>
                  </a:lnTo>
                  <a:lnTo>
                    <a:pt x="36252" y="294425"/>
                  </a:lnTo>
                  <a:lnTo>
                    <a:pt x="17230" y="249346"/>
                  </a:lnTo>
                  <a:lnTo>
                    <a:pt x="10489" y="199180"/>
                  </a:lnTo>
                  <a:lnTo>
                    <a:pt x="17274" y="149038"/>
                  </a:lnTo>
                  <a:lnTo>
                    <a:pt x="36315" y="103980"/>
                  </a:lnTo>
                  <a:lnTo>
                    <a:pt x="65821" y="65802"/>
                  </a:lnTo>
                  <a:lnTo>
                    <a:pt x="103997" y="36298"/>
                  </a:lnTo>
                  <a:lnTo>
                    <a:pt x="149051" y="17263"/>
                  </a:lnTo>
                  <a:lnTo>
                    <a:pt x="199191" y="10489"/>
                  </a:lnTo>
                </a:path>
                <a:path w="398779" h="398780">
                  <a:moveTo>
                    <a:pt x="199191" y="0"/>
                  </a:moveTo>
                  <a:lnTo>
                    <a:pt x="153517" y="5260"/>
                  </a:lnTo>
                  <a:lnTo>
                    <a:pt x="111590" y="20243"/>
                  </a:lnTo>
                  <a:lnTo>
                    <a:pt x="74606" y="43755"/>
                  </a:lnTo>
                  <a:lnTo>
                    <a:pt x="43759" y="74599"/>
                  </a:lnTo>
                  <a:lnTo>
                    <a:pt x="20245" y="111582"/>
                  </a:lnTo>
                  <a:lnTo>
                    <a:pt x="5260" y="153507"/>
                  </a:lnTo>
                  <a:lnTo>
                    <a:pt x="0" y="199180"/>
                  </a:lnTo>
                  <a:lnTo>
                    <a:pt x="5260" y="244854"/>
                  </a:lnTo>
                  <a:lnTo>
                    <a:pt x="20245" y="286782"/>
                  </a:lnTo>
                  <a:lnTo>
                    <a:pt x="43759" y="323768"/>
                  </a:lnTo>
                  <a:lnTo>
                    <a:pt x="74606" y="354616"/>
                  </a:lnTo>
                  <a:lnTo>
                    <a:pt x="111591" y="378131"/>
                  </a:lnTo>
                  <a:lnTo>
                    <a:pt x="153518" y="393117"/>
                  </a:lnTo>
                  <a:lnTo>
                    <a:pt x="199192" y="398378"/>
                  </a:lnTo>
                  <a:lnTo>
                    <a:pt x="244864" y="393117"/>
                  </a:lnTo>
                  <a:lnTo>
                    <a:pt x="286789" y="378132"/>
                  </a:lnTo>
                  <a:lnTo>
                    <a:pt x="323773" y="354617"/>
                  </a:lnTo>
                  <a:lnTo>
                    <a:pt x="354620" y="323768"/>
                  </a:lnTo>
                  <a:lnTo>
                    <a:pt x="378133" y="286782"/>
                  </a:lnTo>
                  <a:lnTo>
                    <a:pt x="393118" y="244854"/>
                  </a:lnTo>
                  <a:lnTo>
                    <a:pt x="398379" y="199181"/>
                  </a:lnTo>
                  <a:lnTo>
                    <a:pt x="393139" y="153526"/>
                  </a:lnTo>
                  <a:lnTo>
                    <a:pt x="378180" y="111613"/>
                  </a:lnTo>
                  <a:lnTo>
                    <a:pt x="354695" y="74635"/>
                  </a:lnTo>
                  <a:lnTo>
                    <a:pt x="323879" y="43790"/>
                  </a:lnTo>
                  <a:lnTo>
                    <a:pt x="286924" y="20271"/>
                  </a:lnTo>
                  <a:lnTo>
                    <a:pt x="245026" y="5276"/>
                  </a:lnTo>
                  <a:lnTo>
                    <a:pt x="199379" y="0"/>
                  </a:lnTo>
                  <a:lnTo>
                    <a:pt x="199191" y="0"/>
                  </a:lnTo>
                  <a:close/>
                </a:path>
              </a:pathLst>
            </a:custGeom>
            <a:ln w="20979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0" name="object 40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7910656" y="508274"/>
              <a:ext cx="121801" cy="196684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200D02C9-F9FD-9AFF-8200-F6D89B26B90C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EC149C93-043E-1946-99C3-1562491FBCE9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7" name="object 4">
            <a:extLst>
              <a:ext uri="{FF2B5EF4-FFF2-40B4-BE49-F238E27FC236}">
                <a16:creationId xmlns:a16="http://schemas.microsoft.com/office/drawing/2014/main" id="{00D77E71-B90D-F166-D64B-2F8367737506}"/>
              </a:ext>
            </a:extLst>
          </p:cNvPr>
          <p:cNvSpPr/>
          <p:nvPr/>
        </p:nvSpPr>
        <p:spPr>
          <a:xfrm>
            <a:off x="479996" y="6021285"/>
            <a:ext cx="11232515" cy="0"/>
          </a:xfrm>
          <a:custGeom>
            <a:avLst/>
            <a:gdLst/>
            <a:ahLst/>
            <a:cxnLst/>
            <a:rect l="l" t="t" r="r" b="b"/>
            <a:pathLst>
              <a:path w="11232515">
                <a:moveTo>
                  <a:pt x="0" y="0"/>
                </a:moveTo>
                <a:lnTo>
                  <a:pt x="11231943" y="0"/>
                </a:lnTo>
              </a:path>
            </a:pathLst>
          </a:custGeom>
          <a:ln w="6350">
            <a:solidFill>
              <a:srgbClr val="BDBDB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15">
            <a:extLst>
              <a:ext uri="{FF2B5EF4-FFF2-40B4-BE49-F238E27FC236}">
                <a16:creationId xmlns:a16="http://schemas.microsoft.com/office/drawing/2014/main" id="{E7BC5BB1-A543-7E5D-E03B-324E585A6DA8}"/>
              </a:ext>
            </a:extLst>
          </p:cNvPr>
          <p:cNvSpPr/>
          <p:nvPr/>
        </p:nvSpPr>
        <p:spPr>
          <a:xfrm>
            <a:off x="1378585" y="3412109"/>
            <a:ext cx="1729105" cy="683260"/>
          </a:xfrm>
          <a:custGeom>
            <a:avLst/>
            <a:gdLst/>
            <a:ahLst/>
            <a:cxnLst/>
            <a:rect l="l" t="t" r="r" b="b"/>
            <a:pathLst>
              <a:path w="1729105" h="683260">
                <a:moveTo>
                  <a:pt x="1615059" y="0"/>
                </a:moveTo>
                <a:lnTo>
                  <a:pt x="113792" y="0"/>
                </a:lnTo>
                <a:lnTo>
                  <a:pt x="69490" y="8957"/>
                </a:lnTo>
                <a:lnTo>
                  <a:pt x="33321" y="33369"/>
                </a:lnTo>
                <a:lnTo>
                  <a:pt x="8939" y="69544"/>
                </a:lnTo>
                <a:lnTo>
                  <a:pt x="0" y="113791"/>
                </a:lnTo>
                <a:lnTo>
                  <a:pt x="0" y="569086"/>
                </a:lnTo>
                <a:lnTo>
                  <a:pt x="8939" y="613388"/>
                </a:lnTo>
                <a:lnTo>
                  <a:pt x="33321" y="649557"/>
                </a:lnTo>
                <a:lnTo>
                  <a:pt x="69490" y="673939"/>
                </a:lnTo>
                <a:lnTo>
                  <a:pt x="113792" y="682878"/>
                </a:lnTo>
                <a:lnTo>
                  <a:pt x="1615059" y="682878"/>
                </a:lnTo>
                <a:lnTo>
                  <a:pt x="1659360" y="673939"/>
                </a:lnTo>
                <a:lnTo>
                  <a:pt x="1695529" y="649557"/>
                </a:lnTo>
                <a:lnTo>
                  <a:pt x="1719911" y="613388"/>
                </a:lnTo>
                <a:lnTo>
                  <a:pt x="1728851" y="569086"/>
                </a:lnTo>
                <a:lnTo>
                  <a:pt x="1728851" y="113791"/>
                </a:lnTo>
                <a:lnTo>
                  <a:pt x="1719911" y="69544"/>
                </a:lnTo>
                <a:lnTo>
                  <a:pt x="1695529" y="33369"/>
                </a:lnTo>
                <a:lnTo>
                  <a:pt x="1659360" y="8957"/>
                </a:lnTo>
                <a:lnTo>
                  <a:pt x="1615059" y="0"/>
                </a:lnTo>
                <a:close/>
              </a:path>
            </a:pathLst>
          </a:custGeom>
          <a:solidFill>
            <a:schemeClr val="tx2">
              <a:alpha val="60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16">
            <a:extLst>
              <a:ext uri="{FF2B5EF4-FFF2-40B4-BE49-F238E27FC236}">
                <a16:creationId xmlns:a16="http://schemas.microsoft.com/office/drawing/2014/main" id="{924F3664-B418-480B-27A8-2F9221EFAEE4}"/>
              </a:ext>
            </a:extLst>
          </p:cNvPr>
          <p:cNvSpPr txBox="1"/>
          <p:nvPr/>
        </p:nvSpPr>
        <p:spPr>
          <a:xfrm>
            <a:off x="1494960" y="3501008"/>
            <a:ext cx="1576704" cy="44416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21945" marR="5080" indent="-309880">
              <a:lnSpc>
                <a:spcPct val="102299"/>
              </a:lnSpc>
              <a:spcBef>
                <a:spcPts val="95"/>
              </a:spcBef>
            </a:pPr>
            <a:r>
              <a:rPr lang="it-IT" sz="1400" spc="-50" dirty="0">
                <a:solidFill>
                  <a:srgbClr val="FFFFFF"/>
                </a:solidFill>
                <a:latin typeface="Calibri"/>
                <a:cs typeface="Calibri"/>
              </a:rPr>
              <a:t>Quando è necessario intervenire</a:t>
            </a:r>
            <a:r>
              <a:rPr sz="1400" spc="-50" dirty="0">
                <a:solidFill>
                  <a:srgbClr val="FFFFFF"/>
                </a:solidFill>
                <a:latin typeface="Calibri"/>
                <a:cs typeface="Calibri"/>
              </a:rPr>
              <a:t>?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10" name="object 18">
            <a:extLst>
              <a:ext uri="{FF2B5EF4-FFF2-40B4-BE49-F238E27FC236}">
                <a16:creationId xmlns:a16="http://schemas.microsoft.com/office/drawing/2014/main" id="{BF68AABC-9EB1-A545-1450-BF93CC33A4A2}"/>
              </a:ext>
            </a:extLst>
          </p:cNvPr>
          <p:cNvSpPr txBox="1"/>
          <p:nvPr/>
        </p:nvSpPr>
        <p:spPr>
          <a:xfrm>
            <a:off x="2677795" y="1953895"/>
            <a:ext cx="1270000" cy="43116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indent="10160">
              <a:lnSpc>
                <a:spcPct val="102299"/>
              </a:lnSpc>
              <a:spcBef>
                <a:spcPts val="95"/>
              </a:spcBef>
            </a:pPr>
            <a:r>
              <a:rPr sz="1300" dirty="0">
                <a:solidFill>
                  <a:srgbClr val="FFFFFF"/>
                </a:solidFill>
                <a:latin typeface="Calibri"/>
                <a:cs typeface="Calibri"/>
              </a:rPr>
              <a:t>Ex-Ante</a:t>
            </a:r>
            <a:r>
              <a:rPr sz="1300" spc="4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300" dirty="0">
                <a:solidFill>
                  <a:srgbClr val="FFFFFF"/>
                </a:solidFill>
                <a:latin typeface="Calibri"/>
                <a:cs typeface="Calibri"/>
              </a:rPr>
              <a:t>when</a:t>
            </a:r>
            <a:r>
              <a:rPr sz="1300" spc="3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300" spc="-25" dirty="0">
                <a:solidFill>
                  <a:srgbClr val="FFFFFF"/>
                </a:solidFill>
                <a:latin typeface="Calibri"/>
                <a:cs typeface="Calibri"/>
              </a:rPr>
              <a:t>the </a:t>
            </a:r>
            <a:r>
              <a:rPr sz="1300" dirty="0">
                <a:solidFill>
                  <a:srgbClr val="FFFFFF"/>
                </a:solidFill>
                <a:latin typeface="Calibri"/>
                <a:cs typeface="Calibri"/>
              </a:rPr>
              <a:t>risk</a:t>
            </a:r>
            <a:r>
              <a:rPr sz="1300" spc="2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300" dirty="0">
                <a:solidFill>
                  <a:srgbClr val="FFFFFF"/>
                </a:solidFill>
                <a:latin typeface="Calibri"/>
                <a:cs typeface="Calibri"/>
              </a:rPr>
              <a:t>is</a:t>
            </a:r>
            <a:r>
              <a:rPr sz="1300" spc="3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300" dirty="0">
                <a:solidFill>
                  <a:srgbClr val="FFFFFF"/>
                </a:solidFill>
                <a:latin typeface="Calibri"/>
                <a:cs typeface="Calibri"/>
              </a:rPr>
              <a:t>very</a:t>
            </a:r>
            <a:r>
              <a:rPr sz="1300" spc="1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300" spc="-10" dirty="0">
                <a:solidFill>
                  <a:srgbClr val="FFFFFF"/>
                </a:solidFill>
                <a:latin typeface="Calibri"/>
                <a:cs typeface="Calibri"/>
              </a:rPr>
              <a:t>serious</a:t>
            </a:r>
            <a:endParaRPr sz="1300" dirty="0">
              <a:latin typeface="Calibri"/>
              <a:cs typeface="Calibri"/>
            </a:endParaRPr>
          </a:p>
        </p:txBody>
      </p:sp>
      <p:sp>
        <p:nvSpPr>
          <p:cNvPr id="11" name="object 24">
            <a:extLst>
              <a:ext uri="{FF2B5EF4-FFF2-40B4-BE49-F238E27FC236}">
                <a16:creationId xmlns:a16="http://schemas.microsoft.com/office/drawing/2014/main" id="{DE945B61-9F68-9691-2A3D-A94551D2C133}"/>
              </a:ext>
            </a:extLst>
          </p:cNvPr>
          <p:cNvSpPr/>
          <p:nvPr/>
        </p:nvSpPr>
        <p:spPr>
          <a:xfrm>
            <a:off x="1550925" y="2734631"/>
            <a:ext cx="294384" cy="440242"/>
          </a:xfrm>
          <a:custGeom>
            <a:avLst/>
            <a:gdLst/>
            <a:ahLst/>
            <a:cxnLst/>
            <a:rect l="l" t="t" r="r" b="b"/>
            <a:pathLst>
              <a:path w="217169" h="271144">
                <a:moveTo>
                  <a:pt x="28067" y="0"/>
                </a:moveTo>
                <a:lnTo>
                  <a:pt x="0" y="117348"/>
                </a:lnTo>
                <a:lnTo>
                  <a:pt x="36322" y="94996"/>
                </a:lnTo>
                <a:lnTo>
                  <a:pt x="144526" y="271145"/>
                </a:lnTo>
                <a:lnTo>
                  <a:pt x="217170" y="226568"/>
                </a:lnTo>
                <a:lnTo>
                  <a:pt x="108966" y="50292"/>
                </a:lnTo>
                <a:lnTo>
                  <a:pt x="145415" y="28067"/>
                </a:lnTo>
                <a:lnTo>
                  <a:pt x="28067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25">
            <a:extLst>
              <a:ext uri="{FF2B5EF4-FFF2-40B4-BE49-F238E27FC236}">
                <a16:creationId xmlns:a16="http://schemas.microsoft.com/office/drawing/2014/main" id="{DB5DD98E-8771-AF1D-D27E-2358E1F38A2A}"/>
              </a:ext>
            </a:extLst>
          </p:cNvPr>
          <p:cNvSpPr/>
          <p:nvPr/>
        </p:nvSpPr>
        <p:spPr>
          <a:xfrm>
            <a:off x="2661666" y="2772466"/>
            <a:ext cx="337990" cy="395421"/>
          </a:xfrm>
          <a:custGeom>
            <a:avLst/>
            <a:gdLst/>
            <a:ahLst/>
            <a:cxnLst/>
            <a:rect l="l" t="t" r="r" b="b"/>
            <a:pathLst>
              <a:path w="219710" h="268605">
                <a:moveTo>
                  <a:pt x="194309" y="0"/>
                </a:moveTo>
                <a:lnTo>
                  <a:pt x="76453" y="25272"/>
                </a:lnTo>
                <a:lnTo>
                  <a:pt x="112267" y="48387"/>
                </a:lnTo>
                <a:lnTo>
                  <a:pt x="0" y="222122"/>
                </a:lnTo>
                <a:lnTo>
                  <a:pt x="71627" y="268350"/>
                </a:lnTo>
                <a:lnTo>
                  <a:pt x="183895" y="94741"/>
                </a:lnTo>
                <a:lnTo>
                  <a:pt x="219709" y="117855"/>
                </a:lnTo>
                <a:lnTo>
                  <a:pt x="194309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26">
            <a:extLst>
              <a:ext uri="{FF2B5EF4-FFF2-40B4-BE49-F238E27FC236}">
                <a16:creationId xmlns:a16="http://schemas.microsoft.com/office/drawing/2014/main" id="{3583715D-2357-0704-BB33-2153430AADC0}"/>
              </a:ext>
            </a:extLst>
          </p:cNvPr>
          <p:cNvSpPr/>
          <p:nvPr/>
        </p:nvSpPr>
        <p:spPr>
          <a:xfrm>
            <a:off x="2159508" y="4385054"/>
            <a:ext cx="170814" cy="441059"/>
          </a:xfrm>
          <a:custGeom>
            <a:avLst/>
            <a:gdLst/>
            <a:ahLst/>
            <a:cxnLst/>
            <a:rect l="l" t="t" r="r" b="b"/>
            <a:pathLst>
              <a:path w="170814" h="292100">
                <a:moveTo>
                  <a:pt x="128016" y="0"/>
                </a:moveTo>
                <a:lnTo>
                  <a:pt x="42672" y="0"/>
                </a:lnTo>
                <a:lnTo>
                  <a:pt x="42672" y="206756"/>
                </a:lnTo>
                <a:lnTo>
                  <a:pt x="0" y="206756"/>
                </a:lnTo>
                <a:lnTo>
                  <a:pt x="85343" y="292100"/>
                </a:lnTo>
                <a:lnTo>
                  <a:pt x="170687" y="206756"/>
                </a:lnTo>
                <a:lnTo>
                  <a:pt x="128016" y="206756"/>
                </a:lnTo>
                <a:lnTo>
                  <a:pt x="128016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27">
            <a:extLst>
              <a:ext uri="{FF2B5EF4-FFF2-40B4-BE49-F238E27FC236}">
                <a16:creationId xmlns:a16="http://schemas.microsoft.com/office/drawing/2014/main" id="{4EB86E9E-69FC-03F7-0255-DC5918AAE209}"/>
              </a:ext>
            </a:extLst>
          </p:cNvPr>
          <p:cNvSpPr/>
          <p:nvPr/>
        </p:nvSpPr>
        <p:spPr>
          <a:xfrm>
            <a:off x="4463796" y="1477391"/>
            <a:ext cx="0" cy="3872229"/>
          </a:xfrm>
          <a:custGeom>
            <a:avLst/>
            <a:gdLst/>
            <a:ahLst/>
            <a:cxnLst/>
            <a:rect l="l" t="t" r="r" b="b"/>
            <a:pathLst>
              <a:path h="3872229">
                <a:moveTo>
                  <a:pt x="0" y="0"/>
                </a:moveTo>
                <a:lnTo>
                  <a:pt x="0" y="3871849"/>
                </a:lnTo>
              </a:path>
            </a:pathLst>
          </a:custGeom>
          <a:ln w="19050">
            <a:solidFill>
              <a:schemeClr val="tx2">
                <a:lumMod val="50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28">
            <a:extLst>
              <a:ext uri="{FF2B5EF4-FFF2-40B4-BE49-F238E27FC236}">
                <a16:creationId xmlns:a16="http://schemas.microsoft.com/office/drawing/2014/main" id="{9E686DB7-30D9-F9C5-F068-6E56D5079DFE}"/>
              </a:ext>
            </a:extLst>
          </p:cNvPr>
          <p:cNvSpPr txBox="1"/>
          <p:nvPr/>
        </p:nvSpPr>
        <p:spPr>
          <a:xfrm>
            <a:off x="4672076" y="924843"/>
            <a:ext cx="7185025" cy="319959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0" tIns="73025" rIns="0" bIns="0" rtlCol="0">
            <a:spAutoFit/>
          </a:bodyPr>
          <a:lstStyle/>
          <a:p>
            <a:pPr marL="1905" algn="ctr">
              <a:lnSpc>
                <a:spcPct val="100000"/>
              </a:lnSpc>
              <a:spcBef>
                <a:spcPts val="575"/>
              </a:spcBef>
            </a:pPr>
            <a:r>
              <a:rPr lang="it-IT" sz="1600" b="1" spc="-25" dirty="0">
                <a:solidFill>
                  <a:srgbClr val="FFFFFF"/>
                </a:solidFill>
                <a:latin typeface="Calibri"/>
                <a:cs typeface="Calibri"/>
              </a:rPr>
              <a:t>Principale regolamentazione sull’ </a:t>
            </a:r>
            <a:r>
              <a:rPr sz="1600" b="1" spc="-25" dirty="0">
                <a:solidFill>
                  <a:srgbClr val="FFFFFF"/>
                </a:solidFill>
                <a:latin typeface="Calibri"/>
                <a:cs typeface="Calibri"/>
              </a:rPr>
              <a:t>AI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21" name="object 34">
            <a:extLst>
              <a:ext uri="{FF2B5EF4-FFF2-40B4-BE49-F238E27FC236}">
                <a16:creationId xmlns:a16="http://schemas.microsoft.com/office/drawing/2014/main" id="{49BF65D8-825D-696A-9C61-80EEF1C81628}"/>
              </a:ext>
            </a:extLst>
          </p:cNvPr>
          <p:cNvSpPr txBox="1"/>
          <p:nvPr/>
        </p:nvSpPr>
        <p:spPr>
          <a:xfrm>
            <a:off x="5331078" y="3654297"/>
            <a:ext cx="5897880" cy="777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10" dirty="0">
                <a:solidFill>
                  <a:srgbClr val="FFFFFF"/>
                </a:solidFill>
                <a:latin typeface="Calibri"/>
                <a:cs typeface="Calibri"/>
              </a:rPr>
              <a:t>Discussions</a:t>
            </a:r>
            <a:r>
              <a:rPr sz="1600" spc="-4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00" dirty="0">
                <a:solidFill>
                  <a:srgbClr val="FFFFFF"/>
                </a:solidFill>
                <a:latin typeface="Calibri"/>
                <a:cs typeface="Calibri"/>
              </a:rPr>
              <a:t>around</a:t>
            </a:r>
            <a:r>
              <a:rPr sz="1600" spc="-2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00" dirty="0">
                <a:solidFill>
                  <a:srgbClr val="FFFFFF"/>
                </a:solidFill>
                <a:latin typeface="Calibri"/>
                <a:cs typeface="Calibri"/>
              </a:rPr>
              <a:t>the</a:t>
            </a:r>
            <a:r>
              <a:rPr sz="1600" spc="-3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00" spc="-10" dirty="0">
                <a:solidFill>
                  <a:srgbClr val="FFFFFF"/>
                </a:solidFill>
                <a:latin typeface="Calibri"/>
                <a:cs typeface="Calibri"/>
              </a:rPr>
              <a:t>exclusion</a:t>
            </a:r>
            <a:r>
              <a:rPr sz="1600" spc="-4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00" dirty="0">
                <a:solidFill>
                  <a:srgbClr val="FFFFFF"/>
                </a:solidFill>
                <a:latin typeface="Calibri"/>
                <a:cs typeface="Calibri"/>
              </a:rPr>
              <a:t>of</a:t>
            </a:r>
            <a:r>
              <a:rPr sz="1600" spc="-2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00" dirty="0">
                <a:solidFill>
                  <a:srgbClr val="FFFFFF"/>
                </a:solidFill>
                <a:latin typeface="Calibri"/>
                <a:cs typeface="Calibri"/>
              </a:rPr>
              <a:t>logistic</a:t>
            </a:r>
            <a:r>
              <a:rPr sz="1600" spc="-6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00" spc="-10" dirty="0">
                <a:solidFill>
                  <a:srgbClr val="FFFFFF"/>
                </a:solidFill>
                <a:latin typeface="Calibri"/>
                <a:cs typeface="Calibri"/>
              </a:rPr>
              <a:t>regressions</a:t>
            </a:r>
            <a:r>
              <a:rPr sz="1600" dirty="0">
                <a:solidFill>
                  <a:srgbClr val="FFFFFF"/>
                </a:solidFill>
                <a:latin typeface="Calibri"/>
                <a:cs typeface="Calibri"/>
              </a:rPr>
              <a:t> from</a:t>
            </a:r>
            <a:r>
              <a:rPr sz="1600" spc="-1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00" dirty="0">
                <a:solidFill>
                  <a:srgbClr val="FFFFFF"/>
                </a:solidFill>
                <a:latin typeface="Calibri"/>
                <a:cs typeface="Calibri"/>
              </a:rPr>
              <a:t>the</a:t>
            </a:r>
            <a:r>
              <a:rPr sz="1600" spc="-3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00" dirty="0">
                <a:solidFill>
                  <a:srgbClr val="FFFFFF"/>
                </a:solidFill>
                <a:latin typeface="Calibri"/>
                <a:cs typeface="Calibri"/>
              </a:rPr>
              <a:t>AI</a:t>
            </a:r>
            <a:r>
              <a:rPr sz="1600" spc="-4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00" spc="-25" dirty="0">
                <a:solidFill>
                  <a:srgbClr val="FFFFFF"/>
                </a:solidFill>
                <a:latin typeface="Calibri"/>
                <a:cs typeface="Calibri"/>
              </a:rPr>
              <a:t>ACT</a:t>
            </a:r>
            <a:endParaRPr sz="1600" dirty="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130"/>
              </a:spcBef>
            </a:pPr>
            <a:endParaRPr sz="1600" dirty="0">
              <a:latin typeface="Calibri"/>
              <a:cs typeface="Calibri"/>
            </a:endParaRPr>
          </a:p>
          <a:p>
            <a:pPr marL="996315">
              <a:lnSpc>
                <a:spcPct val="100000"/>
              </a:lnSpc>
              <a:tabLst>
                <a:tab pos="4376420" algn="l"/>
              </a:tabLst>
            </a:pPr>
            <a:r>
              <a:rPr sz="1600" spc="-10" dirty="0">
                <a:solidFill>
                  <a:srgbClr val="FFFFFF"/>
                </a:solidFill>
                <a:latin typeface="Calibri"/>
                <a:cs typeface="Calibri"/>
              </a:rPr>
              <a:t>PRO’s</a:t>
            </a:r>
            <a:r>
              <a:rPr sz="1600" dirty="0">
                <a:solidFill>
                  <a:srgbClr val="FFFFFF"/>
                </a:solidFill>
                <a:latin typeface="Calibri"/>
                <a:cs typeface="Calibri"/>
              </a:rPr>
              <a:t>	</a:t>
            </a:r>
            <a:r>
              <a:rPr sz="1600" spc="-10" dirty="0">
                <a:solidFill>
                  <a:srgbClr val="FFFFFF"/>
                </a:solidFill>
                <a:latin typeface="Calibri"/>
                <a:cs typeface="Calibri"/>
              </a:rPr>
              <a:t>Potential</a:t>
            </a:r>
            <a:r>
              <a:rPr sz="1600" spc="-3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00" spc="-10" dirty="0">
                <a:solidFill>
                  <a:srgbClr val="FFFFFF"/>
                </a:solidFill>
                <a:latin typeface="Calibri"/>
                <a:cs typeface="Calibri"/>
              </a:rPr>
              <a:t>issues</a:t>
            </a:r>
            <a:endParaRPr sz="1600" dirty="0">
              <a:latin typeface="Calibri"/>
              <a:cs typeface="Calibri"/>
            </a:endParaRPr>
          </a:p>
        </p:txBody>
      </p:sp>
      <p:pic>
        <p:nvPicPr>
          <p:cNvPr id="24" name="object 37">
            <a:extLst>
              <a:ext uri="{FF2B5EF4-FFF2-40B4-BE49-F238E27FC236}">
                <a16:creationId xmlns:a16="http://schemas.microsoft.com/office/drawing/2014/main" id="{02A330CC-A4E7-4C54-7D14-9841516F67A2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7968208" y="1749209"/>
            <a:ext cx="357377" cy="211162"/>
          </a:xfrm>
          <a:prstGeom prst="rect">
            <a:avLst/>
          </a:prstGeom>
        </p:spPr>
      </p:pic>
      <p:pic>
        <p:nvPicPr>
          <p:cNvPr id="25" name="object 38">
            <a:extLst>
              <a:ext uri="{FF2B5EF4-FFF2-40B4-BE49-F238E27FC236}">
                <a16:creationId xmlns:a16="http://schemas.microsoft.com/office/drawing/2014/main" id="{937AEE1F-7437-F9B0-9F9E-282924296304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6643876" y="1749170"/>
            <a:ext cx="368300" cy="217169"/>
          </a:xfrm>
          <a:prstGeom prst="rect">
            <a:avLst/>
          </a:prstGeom>
        </p:spPr>
      </p:pic>
      <p:pic>
        <p:nvPicPr>
          <p:cNvPr id="26" name="object 39">
            <a:extLst>
              <a:ext uri="{FF2B5EF4-FFF2-40B4-BE49-F238E27FC236}">
                <a16:creationId xmlns:a16="http://schemas.microsoft.com/office/drawing/2014/main" id="{F49A9939-CD5D-209D-C0B2-FF0CE3F71EA2}"/>
              </a:ext>
            </a:extLst>
          </p:cNvPr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5327903" y="1749170"/>
            <a:ext cx="372275" cy="239775"/>
          </a:xfrm>
          <a:prstGeom prst="rect">
            <a:avLst/>
          </a:prstGeom>
        </p:spPr>
      </p:pic>
      <p:pic>
        <p:nvPicPr>
          <p:cNvPr id="27" name="object 40">
            <a:extLst>
              <a:ext uri="{FF2B5EF4-FFF2-40B4-BE49-F238E27FC236}">
                <a16:creationId xmlns:a16="http://schemas.microsoft.com/office/drawing/2014/main" id="{111FE999-BF86-F9C0-50CA-A166CF014B50}"/>
              </a:ext>
            </a:extLst>
          </p:cNvPr>
          <p:cNvPicPr/>
          <p:nvPr/>
        </p:nvPicPr>
        <p:blipFill>
          <a:blip r:embed="rId5" cstate="print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667630" y="2083561"/>
            <a:ext cx="1452752" cy="1416303"/>
          </a:xfrm>
          <a:prstGeom prst="rect">
            <a:avLst/>
          </a:prstGeom>
          <a:solidFill>
            <a:schemeClr val="accent6"/>
          </a:solidFill>
        </p:spPr>
      </p:pic>
      <p:sp>
        <p:nvSpPr>
          <p:cNvPr id="28" name="object 41">
            <a:extLst>
              <a:ext uri="{FF2B5EF4-FFF2-40B4-BE49-F238E27FC236}">
                <a16:creationId xmlns:a16="http://schemas.microsoft.com/office/drawing/2014/main" id="{F6D6E81B-CA44-7398-F197-C3B4D15E47C8}"/>
              </a:ext>
            </a:extLst>
          </p:cNvPr>
          <p:cNvSpPr txBox="1"/>
          <p:nvPr/>
        </p:nvSpPr>
        <p:spPr>
          <a:xfrm>
            <a:off x="4705858" y="2059940"/>
            <a:ext cx="1424940" cy="1223645"/>
          </a:xfrm>
          <a:prstGeom prst="rect">
            <a:avLst/>
          </a:prstGeom>
        </p:spPr>
        <p:txBody>
          <a:bodyPr vert="horz" wrap="square" lIns="0" tIns="62865" rIns="0" bIns="0" rtlCol="0">
            <a:spAutoFit/>
          </a:bodyPr>
          <a:lstStyle/>
          <a:p>
            <a:pPr marL="522605">
              <a:lnSpc>
                <a:spcPct val="100000"/>
              </a:lnSpc>
              <a:spcBef>
                <a:spcPts val="495"/>
              </a:spcBef>
            </a:pPr>
            <a:r>
              <a:rPr sz="1200" b="1" dirty="0">
                <a:latin typeface="Calibri"/>
                <a:cs typeface="Calibri"/>
              </a:rPr>
              <a:t>AI</a:t>
            </a:r>
            <a:r>
              <a:rPr sz="1200" b="1" spc="-15" dirty="0">
                <a:latin typeface="Calibri"/>
                <a:cs typeface="Calibri"/>
              </a:rPr>
              <a:t> </a:t>
            </a:r>
            <a:r>
              <a:rPr sz="1200" b="1" spc="-25" dirty="0">
                <a:latin typeface="Calibri"/>
                <a:cs typeface="Calibri"/>
              </a:rPr>
              <a:t>Act</a:t>
            </a:r>
            <a:endParaRPr sz="1200" dirty="0">
              <a:latin typeface="Calibri"/>
              <a:cs typeface="Calibri"/>
            </a:endParaRPr>
          </a:p>
          <a:p>
            <a:pPr marL="12700" marR="5080" algn="ctr">
              <a:lnSpc>
                <a:spcPct val="100000"/>
              </a:lnSpc>
              <a:spcBef>
                <a:spcPts val="395"/>
              </a:spcBef>
            </a:pPr>
            <a:r>
              <a:rPr sz="1200" dirty="0">
                <a:latin typeface="Calibri Light"/>
                <a:cs typeface="Calibri Light"/>
              </a:rPr>
              <a:t>Promoting</a:t>
            </a:r>
            <a:r>
              <a:rPr sz="1200" spc="-25" dirty="0">
                <a:latin typeface="Calibri Light"/>
                <a:cs typeface="Calibri Light"/>
              </a:rPr>
              <a:t> </a:t>
            </a:r>
            <a:r>
              <a:rPr sz="1200" dirty="0">
                <a:latin typeface="Calibri Light"/>
                <a:cs typeface="Calibri Light"/>
              </a:rPr>
              <a:t>the</a:t>
            </a:r>
            <a:r>
              <a:rPr sz="1200" spc="-40" dirty="0">
                <a:latin typeface="Calibri Light"/>
                <a:cs typeface="Calibri Light"/>
              </a:rPr>
              <a:t> </a:t>
            </a:r>
            <a:r>
              <a:rPr sz="1200" dirty="0">
                <a:latin typeface="Calibri Light"/>
                <a:cs typeface="Calibri Light"/>
              </a:rPr>
              <a:t>use</a:t>
            </a:r>
            <a:r>
              <a:rPr sz="1200" spc="-40" dirty="0">
                <a:latin typeface="Calibri Light"/>
                <a:cs typeface="Calibri Light"/>
              </a:rPr>
              <a:t> </a:t>
            </a:r>
            <a:r>
              <a:rPr sz="1200" spc="-25" dirty="0">
                <a:latin typeface="Calibri Light"/>
                <a:cs typeface="Calibri Light"/>
              </a:rPr>
              <a:t>of </a:t>
            </a:r>
            <a:r>
              <a:rPr sz="1200" dirty="0">
                <a:latin typeface="Calibri Light"/>
                <a:cs typeface="Calibri Light"/>
              </a:rPr>
              <a:t>AI</a:t>
            </a:r>
            <a:r>
              <a:rPr sz="1200" spc="-25" dirty="0">
                <a:latin typeface="Calibri Light"/>
                <a:cs typeface="Calibri Light"/>
              </a:rPr>
              <a:t> </a:t>
            </a:r>
            <a:r>
              <a:rPr sz="1200" dirty="0">
                <a:latin typeface="Calibri Light"/>
                <a:cs typeface="Calibri Light"/>
              </a:rPr>
              <a:t>that</a:t>
            </a:r>
            <a:r>
              <a:rPr sz="1200" spc="-5" dirty="0">
                <a:latin typeface="Calibri Light"/>
                <a:cs typeface="Calibri Light"/>
              </a:rPr>
              <a:t> </a:t>
            </a:r>
            <a:r>
              <a:rPr sz="1200" dirty="0">
                <a:latin typeface="Calibri Light"/>
                <a:cs typeface="Calibri Light"/>
              </a:rPr>
              <a:t>is</a:t>
            </a:r>
            <a:r>
              <a:rPr sz="1200" spc="-25" dirty="0">
                <a:latin typeface="Calibri Light"/>
                <a:cs typeface="Calibri Light"/>
              </a:rPr>
              <a:t> </a:t>
            </a:r>
            <a:r>
              <a:rPr sz="1200" dirty="0">
                <a:latin typeface="Calibri Light"/>
                <a:cs typeface="Calibri Light"/>
              </a:rPr>
              <a:t>safe,</a:t>
            </a:r>
            <a:r>
              <a:rPr sz="1200" spc="-35" dirty="0">
                <a:latin typeface="Calibri Light"/>
                <a:cs typeface="Calibri Light"/>
              </a:rPr>
              <a:t> </a:t>
            </a:r>
            <a:r>
              <a:rPr sz="1200" spc="-10" dirty="0">
                <a:latin typeface="Calibri Light"/>
                <a:cs typeface="Calibri Light"/>
              </a:rPr>
              <a:t>respects </a:t>
            </a:r>
            <a:r>
              <a:rPr sz="1200" dirty="0">
                <a:latin typeface="Calibri Light"/>
                <a:cs typeface="Calibri Light"/>
              </a:rPr>
              <a:t>human</a:t>
            </a:r>
            <a:r>
              <a:rPr sz="1200" spc="-30" dirty="0">
                <a:latin typeface="Calibri Light"/>
                <a:cs typeface="Calibri Light"/>
              </a:rPr>
              <a:t> </a:t>
            </a:r>
            <a:r>
              <a:rPr sz="1200" dirty="0">
                <a:latin typeface="Calibri Light"/>
                <a:cs typeface="Calibri Light"/>
              </a:rPr>
              <a:t>rights,</a:t>
            </a:r>
            <a:r>
              <a:rPr sz="1200" spc="-35" dirty="0">
                <a:latin typeface="Calibri Light"/>
                <a:cs typeface="Calibri Light"/>
              </a:rPr>
              <a:t> </a:t>
            </a:r>
            <a:r>
              <a:rPr sz="1200" spc="-25" dirty="0">
                <a:latin typeface="Calibri Light"/>
                <a:cs typeface="Calibri Light"/>
              </a:rPr>
              <a:t>and </a:t>
            </a:r>
            <a:r>
              <a:rPr sz="1200" spc="-10" dirty="0">
                <a:latin typeface="Calibri Light"/>
                <a:cs typeface="Calibri Light"/>
              </a:rPr>
              <a:t>protects</a:t>
            </a:r>
            <a:r>
              <a:rPr sz="1200" spc="-5" dirty="0">
                <a:latin typeface="Calibri Light"/>
                <a:cs typeface="Calibri Light"/>
              </a:rPr>
              <a:t> </a:t>
            </a:r>
            <a:r>
              <a:rPr sz="1200" dirty="0">
                <a:latin typeface="Calibri Light"/>
                <a:cs typeface="Calibri Light"/>
              </a:rPr>
              <a:t>health,</a:t>
            </a:r>
            <a:r>
              <a:rPr sz="1200" spc="-10" dirty="0">
                <a:latin typeface="Calibri Light"/>
                <a:cs typeface="Calibri Light"/>
              </a:rPr>
              <a:t> safety, </a:t>
            </a:r>
            <a:r>
              <a:rPr sz="1200" dirty="0">
                <a:latin typeface="Calibri Light"/>
                <a:cs typeface="Calibri Light"/>
              </a:rPr>
              <a:t>and</a:t>
            </a:r>
            <a:r>
              <a:rPr sz="1200" spc="-10" dirty="0">
                <a:latin typeface="Calibri Light"/>
                <a:cs typeface="Calibri Light"/>
              </a:rPr>
              <a:t> </a:t>
            </a:r>
            <a:r>
              <a:rPr sz="1200" dirty="0">
                <a:latin typeface="Calibri Light"/>
                <a:cs typeface="Calibri Light"/>
              </a:rPr>
              <a:t>the</a:t>
            </a:r>
            <a:r>
              <a:rPr sz="1200" spc="-10" dirty="0">
                <a:latin typeface="Calibri Light"/>
                <a:cs typeface="Calibri Light"/>
              </a:rPr>
              <a:t> environment.</a:t>
            </a:r>
            <a:endParaRPr sz="1200" dirty="0">
              <a:latin typeface="Calibri Light"/>
              <a:cs typeface="Calibri Light"/>
            </a:endParaRPr>
          </a:p>
        </p:txBody>
      </p:sp>
      <p:sp>
        <p:nvSpPr>
          <p:cNvPr id="29" name="object 42">
            <a:extLst>
              <a:ext uri="{FF2B5EF4-FFF2-40B4-BE49-F238E27FC236}">
                <a16:creationId xmlns:a16="http://schemas.microsoft.com/office/drawing/2014/main" id="{0AE29BC2-D0AB-08FA-0A3F-C0073E25C65F}"/>
              </a:ext>
            </a:extLst>
          </p:cNvPr>
          <p:cNvSpPr txBox="1"/>
          <p:nvPr/>
        </p:nvSpPr>
        <p:spPr>
          <a:xfrm>
            <a:off x="6240016" y="2083561"/>
            <a:ext cx="1165225" cy="1416685"/>
          </a:xfrm>
          <a:prstGeom prst="rect">
            <a:avLst/>
          </a:prstGeom>
          <a:solidFill>
            <a:srgbClr val="D9D7DC"/>
          </a:solidFill>
        </p:spPr>
        <p:txBody>
          <a:bodyPr vert="horz" wrap="square" lIns="0" tIns="39370" rIns="0" bIns="0" rtlCol="0">
            <a:spAutoFit/>
          </a:bodyPr>
          <a:lstStyle/>
          <a:p>
            <a:pPr marL="47625" marR="3175" algn="ctr">
              <a:lnSpc>
                <a:spcPct val="100000"/>
              </a:lnSpc>
              <a:spcBef>
                <a:spcPts val="310"/>
              </a:spcBef>
            </a:pPr>
            <a:r>
              <a:rPr sz="1200" b="1" dirty="0">
                <a:latin typeface="Calibri"/>
                <a:cs typeface="Calibri"/>
              </a:rPr>
              <a:t>SS</a:t>
            </a:r>
            <a:r>
              <a:rPr sz="1200" b="1" spc="-5" dirty="0">
                <a:latin typeface="Calibri"/>
                <a:cs typeface="Calibri"/>
              </a:rPr>
              <a:t> </a:t>
            </a:r>
            <a:r>
              <a:rPr sz="1200" b="1" spc="-20" dirty="0">
                <a:latin typeface="Calibri"/>
                <a:cs typeface="Calibri"/>
              </a:rPr>
              <a:t>1/23</a:t>
            </a:r>
            <a:endParaRPr sz="1200">
              <a:latin typeface="Calibri"/>
              <a:cs typeface="Calibri"/>
            </a:endParaRPr>
          </a:p>
          <a:p>
            <a:pPr marL="48895" indent="-2540" algn="ctr">
              <a:lnSpc>
                <a:spcPct val="100000"/>
              </a:lnSpc>
            </a:pPr>
            <a:r>
              <a:rPr sz="1200" dirty="0">
                <a:latin typeface="Calibri"/>
                <a:cs typeface="Calibri"/>
              </a:rPr>
              <a:t>Model</a:t>
            </a:r>
            <a:r>
              <a:rPr sz="1200" spc="-30" dirty="0">
                <a:latin typeface="Calibri"/>
                <a:cs typeface="Calibri"/>
              </a:rPr>
              <a:t> </a:t>
            </a:r>
            <a:r>
              <a:rPr sz="1200" spc="-20" dirty="0">
                <a:latin typeface="Calibri"/>
                <a:cs typeface="Calibri"/>
              </a:rPr>
              <a:t>Risk </a:t>
            </a:r>
            <a:r>
              <a:rPr sz="1200" spc="-10" dirty="0">
                <a:latin typeface="Calibri"/>
                <a:cs typeface="Calibri"/>
              </a:rPr>
              <a:t>Management </a:t>
            </a:r>
            <a:r>
              <a:rPr sz="1200" dirty="0">
                <a:latin typeface="Calibri"/>
                <a:cs typeface="Calibri"/>
              </a:rPr>
              <a:t>explicitly</a:t>
            </a:r>
            <a:r>
              <a:rPr sz="1200" spc="-60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applying </a:t>
            </a:r>
            <a:r>
              <a:rPr sz="1200" dirty="0">
                <a:latin typeface="Calibri"/>
                <a:cs typeface="Calibri"/>
              </a:rPr>
              <a:t>on</a:t>
            </a:r>
            <a:r>
              <a:rPr sz="1200" spc="-5" dirty="0">
                <a:latin typeface="Calibri"/>
                <a:cs typeface="Calibri"/>
              </a:rPr>
              <a:t> </a:t>
            </a:r>
            <a:r>
              <a:rPr sz="1200" spc="-25" dirty="0">
                <a:latin typeface="Calibri"/>
                <a:cs typeface="Calibri"/>
              </a:rPr>
              <a:t>AI</a:t>
            </a:r>
            <a:endParaRPr sz="1200">
              <a:latin typeface="Calibri"/>
              <a:cs typeface="Calibri"/>
            </a:endParaRPr>
          </a:p>
        </p:txBody>
      </p:sp>
      <p:pic>
        <p:nvPicPr>
          <p:cNvPr id="30" name="object 44">
            <a:extLst>
              <a:ext uri="{FF2B5EF4-FFF2-40B4-BE49-F238E27FC236}">
                <a16:creationId xmlns:a16="http://schemas.microsoft.com/office/drawing/2014/main" id="{DFC89277-9496-34B0-8710-3A3670F00A16}"/>
              </a:ext>
            </a:extLst>
          </p:cNvPr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9192344" y="1749209"/>
            <a:ext cx="422338" cy="211162"/>
          </a:xfrm>
          <a:prstGeom prst="rect">
            <a:avLst/>
          </a:prstGeom>
        </p:spPr>
      </p:pic>
      <p:sp>
        <p:nvSpPr>
          <p:cNvPr id="31" name="object 45">
            <a:extLst>
              <a:ext uri="{FF2B5EF4-FFF2-40B4-BE49-F238E27FC236}">
                <a16:creationId xmlns:a16="http://schemas.microsoft.com/office/drawing/2014/main" id="{F39591C8-B0DC-8650-5C97-8396C440385D}"/>
              </a:ext>
            </a:extLst>
          </p:cNvPr>
          <p:cNvSpPr txBox="1"/>
          <p:nvPr/>
        </p:nvSpPr>
        <p:spPr>
          <a:xfrm>
            <a:off x="8832304" y="2083561"/>
            <a:ext cx="1099185" cy="1416685"/>
          </a:xfrm>
          <a:prstGeom prst="rect">
            <a:avLst/>
          </a:prstGeom>
          <a:solidFill>
            <a:srgbClr val="D9D7DC"/>
          </a:solidFill>
        </p:spPr>
        <p:txBody>
          <a:bodyPr vert="horz" wrap="square" lIns="0" tIns="39370" rIns="0" bIns="0" rtlCol="0">
            <a:spAutoFit/>
          </a:bodyPr>
          <a:lstStyle/>
          <a:p>
            <a:pPr marL="95250" marR="37465" algn="ctr">
              <a:lnSpc>
                <a:spcPct val="100000"/>
              </a:lnSpc>
              <a:spcBef>
                <a:spcPts val="310"/>
              </a:spcBef>
            </a:pPr>
            <a:r>
              <a:rPr sz="1200" b="1" dirty="0">
                <a:latin typeface="Calibri"/>
                <a:cs typeface="Calibri"/>
              </a:rPr>
              <a:t>E23</a:t>
            </a:r>
            <a:r>
              <a:rPr sz="1200" b="1" spc="-15" dirty="0">
                <a:latin typeface="Calibri"/>
                <a:cs typeface="Calibri"/>
              </a:rPr>
              <a:t> </a:t>
            </a:r>
            <a:r>
              <a:rPr sz="1200" b="1" dirty="0">
                <a:latin typeface="Calibri"/>
                <a:cs typeface="Calibri"/>
              </a:rPr>
              <a:t>comes</a:t>
            </a:r>
            <a:r>
              <a:rPr sz="1200" b="1" spc="-25" dirty="0">
                <a:latin typeface="Calibri"/>
                <a:cs typeface="Calibri"/>
              </a:rPr>
              <a:t> </a:t>
            </a:r>
            <a:r>
              <a:rPr sz="1200" b="1" spc="-20" dirty="0">
                <a:latin typeface="Calibri"/>
                <a:cs typeface="Calibri"/>
              </a:rPr>
              <a:t>into </a:t>
            </a:r>
            <a:r>
              <a:rPr sz="1200" b="1" dirty="0">
                <a:latin typeface="Calibri"/>
                <a:cs typeface="Calibri"/>
              </a:rPr>
              <a:t>force</a:t>
            </a:r>
            <a:r>
              <a:rPr sz="1200" b="1" spc="-60" dirty="0">
                <a:latin typeface="Calibri"/>
                <a:cs typeface="Calibri"/>
              </a:rPr>
              <a:t> </a:t>
            </a:r>
            <a:r>
              <a:rPr sz="1200" b="1" dirty="0">
                <a:latin typeface="Calibri"/>
                <a:cs typeface="Calibri"/>
              </a:rPr>
              <a:t>in</a:t>
            </a:r>
            <a:r>
              <a:rPr sz="1200" b="1" spc="-5" dirty="0">
                <a:latin typeface="Calibri"/>
                <a:cs typeface="Calibri"/>
              </a:rPr>
              <a:t> </a:t>
            </a:r>
            <a:r>
              <a:rPr sz="1200" b="1" spc="-20" dirty="0">
                <a:latin typeface="Calibri"/>
                <a:cs typeface="Calibri"/>
              </a:rPr>
              <a:t>Sept 2025</a:t>
            </a:r>
            <a:endParaRPr sz="1200" dirty="0">
              <a:latin typeface="Calibri"/>
              <a:cs typeface="Calibri"/>
            </a:endParaRPr>
          </a:p>
          <a:p>
            <a:pPr marL="165100" marR="106680" indent="-1270" algn="ctr">
              <a:lnSpc>
                <a:spcPct val="100000"/>
              </a:lnSpc>
            </a:pPr>
            <a:r>
              <a:rPr sz="1200" dirty="0">
                <a:latin typeface="Calibri Light"/>
                <a:cs typeface="Calibri Light"/>
              </a:rPr>
              <a:t>Model</a:t>
            </a:r>
            <a:r>
              <a:rPr sz="1200" spc="-40" dirty="0">
                <a:latin typeface="Calibri Light"/>
                <a:cs typeface="Calibri Light"/>
              </a:rPr>
              <a:t> </a:t>
            </a:r>
            <a:r>
              <a:rPr sz="1200" spc="-20" dirty="0">
                <a:latin typeface="Calibri Light"/>
                <a:cs typeface="Calibri Light"/>
              </a:rPr>
              <a:t>Risk </a:t>
            </a:r>
            <a:r>
              <a:rPr sz="1200" spc="-10" dirty="0">
                <a:latin typeface="Calibri Light"/>
                <a:cs typeface="Calibri Light"/>
              </a:rPr>
              <a:t>Management</a:t>
            </a:r>
            <a:endParaRPr sz="1200" dirty="0">
              <a:latin typeface="Calibri Light"/>
              <a:cs typeface="Calibri Light"/>
            </a:endParaRPr>
          </a:p>
        </p:txBody>
      </p:sp>
      <p:pic>
        <p:nvPicPr>
          <p:cNvPr id="32" name="object 46">
            <a:extLst>
              <a:ext uri="{FF2B5EF4-FFF2-40B4-BE49-F238E27FC236}">
                <a16:creationId xmlns:a16="http://schemas.microsoft.com/office/drawing/2014/main" id="{988B61DB-3148-FF73-2B13-221B09BEFB6D}"/>
              </a:ext>
            </a:extLst>
          </p:cNvPr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10992484" y="1749209"/>
            <a:ext cx="357403" cy="237832"/>
          </a:xfrm>
          <a:prstGeom prst="rect">
            <a:avLst/>
          </a:prstGeom>
        </p:spPr>
      </p:pic>
      <p:sp>
        <p:nvSpPr>
          <p:cNvPr id="33" name="Rettangolo 32">
            <a:extLst>
              <a:ext uri="{FF2B5EF4-FFF2-40B4-BE49-F238E27FC236}">
                <a16:creationId xmlns:a16="http://schemas.microsoft.com/office/drawing/2014/main" id="{32766E56-212C-0960-C9CB-56F57E6D552C}"/>
              </a:ext>
            </a:extLst>
          </p:cNvPr>
          <p:cNvSpPr/>
          <p:nvPr/>
        </p:nvSpPr>
        <p:spPr>
          <a:xfrm>
            <a:off x="530504" y="908720"/>
            <a:ext cx="3765296" cy="4241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905" algn="ctr">
              <a:lnSpc>
                <a:spcPct val="100000"/>
              </a:lnSpc>
              <a:spcBef>
                <a:spcPts val="575"/>
              </a:spcBef>
            </a:pPr>
            <a:r>
              <a:rPr lang="it-IT" b="1" dirty="0" err="1">
                <a:solidFill>
                  <a:srgbClr val="FFFFFF"/>
                </a:solidFill>
                <a:latin typeface="Calibri"/>
                <a:cs typeface="Calibri"/>
              </a:rPr>
              <a:t>Perchè</a:t>
            </a:r>
            <a:endParaRPr lang="it-IT" dirty="0">
              <a:latin typeface="Calibri"/>
              <a:cs typeface="Calibri"/>
            </a:endParaRPr>
          </a:p>
        </p:txBody>
      </p:sp>
      <p:sp>
        <p:nvSpPr>
          <p:cNvPr id="34" name="object 15">
            <a:extLst>
              <a:ext uri="{FF2B5EF4-FFF2-40B4-BE49-F238E27FC236}">
                <a16:creationId xmlns:a16="http://schemas.microsoft.com/office/drawing/2014/main" id="{BDAA1130-60D9-A6DC-ED97-DA6128E47614}"/>
              </a:ext>
            </a:extLst>
          </p:cNvPr>
          <p:cNvSpPr/>
          <p:nvPr/>
        </p:nvSpPr>
        <p:spPr>
          <a:xfrm>
            <a:off x="551384" y="1844824"/>
            <a:ext cx="1729105" cy="683260"/>
          </a:xfrm>
          <a:custGeom>
            <a:avLst/>
            <a:gdLst/>
            <a:ahLst/>
            <a:cxnLst/>
            <a:rect l="l" t="t" r="r" b="b"/>
            <a:pathLst>
              <a:path w="1729105" h="683260">
                <a:moveTo>
                  <a:pt x="1615059" y="0"/>
                </a:moveTo>
                <a:lnTo>
                  <a:pt x="113792" y="0"/>
                </a:lnTo>
                <a:lnTo>
                  <a:pt x="69490" y="8957"/>
                </a:lnTo>
                <a:lnTo>
                  <a:pt x="33321" y="33369"/>
                </a:lnTo>
                <a:lnTo>
                  <a:pt x="8939" y="69544"/>
                </a:lnTo>
                <a:lnTo>
                  <a:pt x="0" y="113791"/>
                </a:lnTo>
                <a:lnTo>
                  <a:pt x="0" y="569086"/>
                </a:lnTo>
                <a:lnTo>
                  <a:pt x="8939" y="613388"/>
                </a:lnTo>
                <a:lnTo>
                  <a:pt x="33321" y="649557"/>
                </a:lnTo>
                <a:lnTo>
                  <a:pt x="69490" y="673939"/>
                </a:lnTo>
                <a:lnTo>
                  <a:pt x="113792" y="682878"/>
                </a:lnTo>
                <a:lnTo>
                  <a:pt x="1615059" y="682878"/>
                </a:lnTo>
                <a:lnTo>
                  <a:pt x="1659360" y="673939"/>
                </a:lnTo>
                <a:lnTo>
                  <a:pt x="1695529" y="649557"/>
                </a:lnTo>
                <a:lnTo>
                  <a:pt x="1719911" y="613388"/>
                </a:lnTo>
                <a:lnTo>
                  <a:pt x="1728851" y="569086"/>
                </a:lnTo>
                <a:lnTo>
                  <a:pt x="1728851" y="113791"/>
                </a:lnTo>
                <a:lnTo>
                  <a:pt x="1719911" y="69544"/>
                </a:lnTo>
                <a:lnTo>
                  <a:pt x="1695529" y="33369"/>
                </a:lnTo>
                <a:lnTo>
                  <a:pt x="1659360" y="8957"/>
                </a:lnTo>
                <a:lnTo>
                  <a:pt x="1615059" y="0"/>
                </a:lnTo>
                <a:close/>
              </a:path>
            </a:pathLst>
          </a:custGeom>
          <a:solidFill>
            <a:schemeClr val="tx2">
              <a:alpha val="60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16">
            <a:extLst>
              <a:ext uri="{FF2B5EF4-FFF2-40B4-BE49-F238E27FC236}">
                <a16:creationId xmlns:a16="http://schemas.microsoft.com/office/drawing/2014/main" id="{9C11E38D-DE16-4C17-0408-0F9B9E0BB985}"/>
              </a:ext>
            </a:extLst>
          </p:cNvPr>
          <p:cNvSpPr txBox="1"/>
          <p:nvPr/>
        </p:nvSpPr>
        <p:spPr>
          <a:xfrm>
            <a:off x="722200" y="1844824"/>
            <a:ext cx="1448024" cy="447943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algn="ctr">
              <a:lnSpc>
                <a:spcPct val="102800"/>
              </a:lnSpc>
              <a:spcBef>
                <a:spcPts val="90"/>
              </a:spcBef>
            </a:pPr>
            <a:r>
              <a:rPr lang="it-IT" sz="1400" dirty="0">
                <a:solidFill>
                  <a:srgbClr val="FFFFFF"/>
                </a:solidFill>
                <a:latin typeface="Calibri"/>
                <a:cs typeface="Calibri"/>
              </a:rPr>
              <a:t>Ex-post</a:t>
            </a:r>
            <a:r>
              <a:rPr lang="it-IT" sz="1400" spc="40" dirty="0">
                <a:solidFill>
                  <a:srgbClr val="FFFFFF"/>
                </a:solidFill>
                <a:latin typeface="Calibri"/>
                <a:cs typeface="Calibri"/>
              </a:rPr>
              <a:t> , dopo gravi incidenti</a:t>
            </a:r>
            <a:endParaRPr lang="it-IT" sz="1400" dirty="0">
              <a:latin typeface="Calibri"/>
              <a:cs typeface="Calibri"/>
            </a:endParaRPr>
          </a:p>
        </p:txBody>
      </p:sp>
      <p:sp>
        <p:nvSpPr>
          <p:cNvPr id="36" name="object 15">
            <a:extLst>
              <a:ext uri="{FF2B5EF4-FFF2-40B4-BE49-F238E27FC236}">
                <a16:creationId xmlns:a16="http://schemas.microsoft.com/office/drawing/2014/main" id="{CC4EDAA2-A117-1F4D-A4A6-25DC6CF30677}"/>
              </a:ext>
            </a:extLst>
          </p:cNvPr>
          <p:cNvSpPr/>
          <p:nvPr/>
        </p:nvSpPr>
        <p:spPr>
          <a:xfrm>
            <a:off x="2494687" y="1844824"/>
            <a:ext cx="1729105" cy="683260"/>
          </a:xfrm>
          <a:custGeom>
            <a:avLst/>
            <a:gdLst/>
            <a:ahLst/>
            <a:cxnLst/>
            <a:rect l="l" t="t" r="r" b="b"/>
            <a:pathLst>
              <a:path w="1729105" h="683260">
                <a:moveTo>
                  <a:pt x="1615059" y="0"/>
                </a:moveTo>
                <a:lnTo>
                  <a:pt x="113792" y="0"/>
                </a:lnTo>
                <a:lnTo>
                  <a:pt x="69490" y="8957"/>
                </a:lnTo>
                <a:lnTo>
                  <a:pt x="33321" y="33369"/>
                </a:lnTo>
                <a:lnTo>
                  <a:pt x="8939" y="69544"/>
                </a:lnTo>
                <a:lnTo>
                  <a:pt x="0" y="113791"/>
                </a:lnTo>
                <a:lnTo>
                  <a:pt x="0" y="569086"/>
                </a:lnTo>
                <a:lnTo>
                  <a:pt x="8939" y="613388"/>
                </a:lnTo>
                <a:lnTo>
                  <a:pt x="33321" y="649557"/>
                </a:lnTo>
                <a:lnTo>
                  <a:pt x="69490" y="673939"/>
                </a:lnTo>
                <a:lnTo>
                  <a:pt x="113792" y="682878"/>
                </a:lnTo>
                <a:lnTo>
                  <a:pt x="1615059" y="682878"/>
                </a:lnTo>
                <a:lnTo>
                  <a:pt x="1659360" y="673939"/>
                </a:lnTo>
                <a:lnTo>
                  <a:pt x="1695529" y="649557"/>
                </a:lnTo>
                <a:lnTo>
                  <a:pt x="1719911" y="613388"/>
                </a:lnTo>
                <a:lnTo>
                  <a:pt x="1728851" y="569086"/>
                </a:lnTo>
                <a:lnTo>
                  <a:pt x="1728851" y="113791"/>
                </a:lnTo>
                <a:lnTo>
                  <a:pt x="1719911" y="69544"/>
                </a:lnTo>
                <a:lnTo>
                  <a:pt x="1695529" y="33369"/>
                </a:lnTo>
                <a:lnTo>
                  <a:pt x="1659360" y="8957"/>
                </a:lnTo>
                <a:lnTo>
                  <a:pt x="1615059" y="0"/>
                </a:lnTo>
                <a:close/>
              </a:path>
            </a:pathLst>
          </a:custGeom>
          <a:solidFill>
            <a:schemeClr val="tx2">
              <a:alpha val="60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18">
            <a:extLst>
              <a:ext uri="{FF2B5EF4-FFF2-40B4-BE49-F238E27FC236}">
                <a16:creationId xmlns:a16="http://schemas.microsoft.com/office/drawing/2014/main" id="{F49BFF2D-186E-DB6A-C61D-D566AC1CCB2A}"/>
              </a:ext>
            </a:extLst>
          </p:cNvPr>
          <p:cNvSpPr txBox="1"/>
          <p:nvPr/>
        </p:nvSpPr>
        <p:spPr>
          <a:xfrm>
            <a:off x="2639616" y="1976727"/>
            <a:ext cx="1554521" cy="44416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indent="10160">
              <a:lnSpc>
                <a:spcPct val="102299"/>
              </a:lnSpc>
              <a:spcBef>
                <a:spcPts val="95"/>
              </a:spcBef>
            </a:pP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Ex-Ante</a:t>
            </a:r>
            <a:r>
              <a:rPr sz="1400" spc="4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lang="it-IT" sz="1400" spc="45" dirty="0">
                <a:solidFill>
                  <a:srgbClr val="FFFFFF"/>
                </a:solidFill>
                <a:latin typeface="Calibri"/>
                <a:cs typeface="Calibri"/>
              </a:rPr>
              <a:t>, quando il rischio è molto alto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38" name="object 15">
            <a:extLst>
              <a:ext uri="{FF2B5EF4-FFF2-40B4-BE49-F238E27FC236}">
                <a16:creationId xmlns:a16="http://schemas.microsoft.com/office/drawing/2014/main" id="{A2DDDF73-36FD-FDE7-2D4C-77402C8575A7}"/>
              </a:ext>
            </a:extLst>
          </p:cNvPr>
          <p:cNvSpPr/>
          <p:nvPr/>
        </p:nvSpPr>
        <p:spPr>
          <a:xfrm>
            <a:off x="1386079" y="5007589"/>
            <a:ext cx="1829600" cy="700587"/>
          </a:xfrm>
          <a:custGeom>
            <a:avLst/>
            <a:gdLst/>
            <a:ahLst/>
            <a:cxnLst/>
            <a:rect l="l" t="t" r="r" b="b"/>
            <a:pathLst>
              <a:path w="1729105" h="683260">
                <a:moveTo>
                  <a:pt x="1615059" y="0"/>
                </a:moveTo>
                <a:lnTo>
                  <a:pt x="113792" y="0"/>
                </a:lnTo>
                <a:lnTo>
                  <a:pt x="69490" y="8957"/>
                </a:lnTo>
                <a:lnTo>
                  <a:pt x="33321" y="33369"/>
                </a:lnTo>
                <a:lnTo>
                  <a:pt x="8939" y="69544"/>
                </a:lnTo>
                <a:lnTo>
                  <a:pt x="0" y="113791"/>
                </a:lnTo>
                <a:lnTo>
                  <a:pt x="0" y="569086"/>
                </a:lnTo>
                <a:lnTo>
                  <a:pt x="8939" y="613388"/>
                </a:lnTo>
                <a:lnTo>
                  <a:pt x="33321" y="649557"/>
                </a:lnTo>
                <a:lnTo>
                  <a:pt x="69490" y="673939"/>
                </a:lnTo>
                <a:lnTo>
                  <a:pt x="113792" y="682878"/>
                </a:lnTo>
                <a:lnTo>
                  <a:pt x="1615059" y="682878"/>
                </a:lnTo>
                <a:lnTo>
                  <a:pt x="1659360" y="673939"/>
                </a:lnTo>
                <a:lnTo>
                  <a:pt x="1695529" y="649557"/>
                </a:lnTo>
                <a:lnTo>
                  <a:pt x="1719911" y="613388"/>
                </a:lnTo>
                <a:lnTo>
                  <a:pt x="1728851" y="569086"/>
                </a:lnTo>
                <a:lnTo>
                  <a:pt x="1728851" y="113791"/>
                </a:lnTo>
                <a:lnTo>
                  <a:pt x="1719911" y="69544"/>
                </a:lnTo>
                <a:lnTo>
                  <a:pt x="1695529" y="33369"/>
                </a:lnTo>
                <a:lnTo>
                  <a:pt x="1659360" y="8957"/>
                </a:lnTo>
                <a:lnTo>
                  <a:pt x="1615059" y="0"/>
                </a:lnTo>
                <a:close/>
              </a:path>
            </a:pathLst>
          </a:custGeom>
          <a:solidFill>
            <a:schemeClr val="tx2">
              <a:alpha val="60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16">
            <a:extLst>
              <a:ext uri="{FF2B5EF4-FFF2-40B4-BE49-F238E27FC236}">
                <a16:creationId xmlns:a16="http://schemas.microsoft.com/office/drawing/2014/main" id="{1379C1AE-38D1-80FA-C576-48AC5F611363}"/>
              </a:ext>
            </a:extLst>
          </p:cNvPr>
          <p:cNvSpPr txBox="1"/>
          <p:nvPr/>
        </p:nvSpPr>
        <p:spPr>
          <a:xfrm>
            <a:off x="1560111" y="5013176"/>
            <a:ext cx="1439545" cy="90460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indent="43815" algn="just">
              <a:lnSpc>
                <a:spcPct val="102699"/>
              </a:lnSpc>
              <a:spcBef>
                <a:spcPts val="90"/>
              </a:spcBef>
            </a:pPr>
            <a:r>
              <a:rPr lang="it-IT" sz="1400" dirty="0">
                <a:solidFill>
                  <a:srgbClr val="FFFFFF"/>
                </a:solidFill>
                <a:latin typeface="Calibri"/>
                <a:cs typeface="Calibri"/>
              </a:rPr>
              <a:t> Quando gli operatori non si autoregolano</a:t>
            </a:r>
          </a:p>
          <a:p>
            <a:pPr marL="12700" marR="5080" indent="43815" algn="just">
              <a:lnSpc>
                <a:spcPct val="102699"/>
              </a:lnSpc>
              <a:spcBef>
                <a:spcPts val="90"/>
              </a:spcBef>
            </a:pPr>
            <a:endParaRPr lang="it-IT" sz="1400" dirty="0">
              <a:latin typeface="Calibri"/>
              <a:cs typeface="Calibri"/>
            </a:endParaRPr>
          </a:p>
        </p:txBody>
      </p:sp>
      <p:pic>
        <p:nvPicPr>
          <p:cNvPr id="40" name="object 40">
            <a:extLst>
              <a:ext uri="{FF2B5EF4-FFF2-40B4-BE49-F238E27FC236}">
                <a16:creationId xmlns:a16="http://schemas.microsoft.com/office/drawing/2014/main" id="{792E3CB7-3420-4F72-22B2-6A432C36AD8A}"/>
              </a:ext>
            </a:extLst>
          </p:cNvPr>
          <p:cNvPicPr/>
          <p:nvPr/>
        </p:nvPicPr>
        <p:blipFill>
          <a:blip r:embed="rId5" cstate="print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0200457" y="2081277"/>
            <a:ext cx="1787066" cy="1416303"/>
          </a:xfrm>
          <a:prstGeom prst="rect">
            <a:avLst/>
          </a:prstGeom>
          <a:solidFill>
            <a:schemeClr val="accent6"/>
          </a:solidFill>
        </p:spPr>
      </p:pic>
      <p:sp>
        <p:nvSpPr>
          <p:cNvPr id="41" name="CasellaDiTesto 40">
            <a:extLst>
              <a:ext uri="{FF2B5EF4-FFF2-40B4-BE49-F238E27FC236}">
                <a16:creationId xmlns:a16="http://schemas.microsoft.com/office/drawing/2014/main" id="{5BC9BC6D-5153-DD1D-CA26-3FE037E0ED3F}"/>
              </a:ext>
            </a:extLst>
          </p:cNvPr>
          <p:cNvSpPr txBox="1"/>
          <p:nvPr/>
        </p:nvSpPr>
        <p:spPr>
          <a:xfrm>
            <a:off x="10075505" y="2083561"/>
            <a:ext cx="2020734" cy="11900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35" algn="ctr">
              <a:lnSpc>
                <a:spcPts val="1370"/>
              </a:lnSpc>
            </a:pPr>
            <a:r>
              <a:rPr lang="it-IT" sz="1200" b="1" spc="-10" dirty="0">
                <a:latin typeface="Calibri"/>
                <a:cs typeface="Calibri"/>
              </a:rPr>
              <a:t>SFC </a:t>
            </a:r>
            <a:r>
              <a:rPr lang="it-IT" sz="1200" spc="-10" dirty="0">
                <a:latin typeface="Calibri"/>
                <a:cs typeface="Calibri"/>
              </a:rPr>
              <a:t>(Securities and Futures Commission) </a:t>
            </a:r>
            <a:r>
              <a:rPr lang="it-IT" sz="1200" spc="-10" dirty="0" err="1">
                <a:latin typeface="Calibri"/>
                <a:cs typeface="Calibri"/>
              </a:rPr>
              <a:t>has</a:t>
            </a:r>
            <a:r>
              <a:rPr lang="it-IT" sz="1200" spc="-10" dirty="0">
                <a:latin typeface="Calibri"/>
                <a:cs typeface="Calibri"/>
              </a:rPr>
              <a:t> </a:t>
            </a:r>
            <a:r>
              <a:rPr lang="it-IT" sz="1200" spc="-10" dirty="0" err="1">
                <a:latin typeface="Calibri"/>
                <a:cs typeface="Calibri"/>
              </a:rPr>
              <a:t>issued</a:t>
            </a:r>
            <a:r>
              <a:rPr lang="it-IT" sz="1200" spc="-10" dirty="0">
                <a:latin typeface="Calibri"/>
                <a:cs typeface="Calibri"/>
              </a:rPr>
              <a:t> a</a:t>
            </a:r>
          </a:p>
          <a:p>
            <a:pPr marL="62230" marR="55244" indent="1905" algn="ctr">
              <a:lnSpc>
                <a:spcPct val="100000"/>
              </a:lnSpc>
            </a:pPr>
            <a:r>
              <a:rPr lang="it-IT" sz="1200" spc="-10" dirty="0" err="1">
                <a:latin typeface="Calibri"/>
                <a:cs typeface="Calibri"/>
              </a:rPr>
              <a:t>circular</a:t>
            </a:r>
            <a:r>
              <a:rPr lang="it-IT" sz="1200" spc="-10" dirty="0">
                <a:latin typeface="Calibri"/>
                <a:cs typeface="Calibri"/>
              </a:rPr>
              <a:t>: </a:t>
            </a:r>
            <a:r>
              <a:rPr lang="it-IT" sz="1200" spc="-10" dirty="0" err="1">
                <a:latin typeface="Calibri"/>
                <a:cs typeface="Calibri"/>
              </a:rPr>
              <a:t>comprehensive</a:t>
            </a:r>
            <a:r>
              <a:rPr lang="it-IT" sz="1200" spc="-10" dirty="0">
                <a:latin typeface="Calibri"/>
                <a:cs typeface="Calibri"/>
              </a:rPr>
              <a:t> </a:t>
            </a:r>
            <a:r>
              <a:rPr lang="it-IT" sz="1200" spc="-10" dirty="0" err="1">
                <a:latin typeface="Calibri"/>
                <a:cs typeface="Calibri"/>
              </a:rPr>
              <a:t>guidelines</a:t>
            </a:r>
            <a:r>
              <a:rPr lang="it-IT" sz="1200" spc="-10" dirty="0">
                <a:latin typeface="Calibri"/>
                <a:cs typeface="Calibri"/>
              </a:rPr>
              <a:t> &amp; </a:t>
            </a:r>
            <a:r>
              <a:rPr lang="it-IT" sz="1200" spc="-10" dirty="0" err="1">
                <a:latin typeface="Calibri"/>
                <a:cs typeface="Calibri"/>
              </a:rPr>
              <a:t>expectations</a:t>
            </a:r>
            <a:r>
              <a:rPr lang="it-IT" sz="1200" spc="-10" dirty="0">
                <a:latin typeface="Calibri"/>
                <a:cs typeface="Calibri"/>
              </a:rPr>
              <a:t> </a:t>
            </a:r>
            <a:r>
              <a:rPr lang="it-IT" sz="1200" spc="-10" dirty="0" err="1">
                <a:latin typeface="Calibri"/>
                <a:cs typeface="Calibri"/>
              </a:rPr>
              <a:t>regarding</a:t>
            </a:r>
            <a:r>
              <a:rPr lang="it-IT" sz="1200" spc="-10" dirty="0">
                <a:latin typeface="Calibri"/>
                <a:cs typeface="Calibri"/>
              </a:rPr>
              <a:t> the </a:t>
            </a:r>
            <a:r>
              <a:rPr lang="it-IT" sz="1200" spc="-10" dirty="0" err="1">
                <a:latin typeface="Calibri"/>
                <a:cs typeface="Calibri"/>
              </a:rPr>
              <a:t>responsible</a:t>
            </a:r>
            <a:r>
              <a:rPr lang="it-IT" sz="1200" spc="-10" dirty="0">
                <a:latin typeface="Calibri"/>
                <a:cs typeface="Calibri"/>
              </a:rPr>
              <a:t> use of </a:t>
            </a:r>
            <a:r>
              <a:rPr lang="it-IT" sz="1200" spc="-10" dirty="0" err="1">
                <a:latin typeface="Calibri"/>
                <a:cs typeface="Calibri"/>
              </a:rPr>
              <a:t>gen</a:t>
            </a:r>
            <a:r>
              <a:rPr lang="it-IT" sz="1200" spc="-10" dirty="0">
                <a:latin typeface="Calibri"/>
                <a:cs typeface="Calibri"/>
              </a:rPr>
              <a:t> AI.</a:t>
            </a:r>
          </a:p>
        </p:txBody>
      </p:sp>
      <p:pic>
        <p:nvPicPr>
          <p:cNvPr id="42" name="object 40">
            <a:extLst>
              <a:ext uri="{FF2B5EF4-FFF2-40B4-BE49-F238E27FC236}">
                <a16:creationId xmlns:a16="http://schemas.microsoft.com/office/drawing/2014/main" id="{39C380D5-7673-011B-F47F-A5B2C0691D8A}"/>
              </a:ext>
            </a:extLst>
          </p:cNvPr>
          <p:cNvPicPr/>
          <p:nvPr/>
        </p:nvPicPr>
        <p:blipFill>
          <a:blip r:embed="rId5" cstate="print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551768" y="2072891"/>
            <a:ext cx="1136520" cy="1392137"/>
          </a:xfrm>
          <a:prstGeom prst="rect">
            <a:avLst/>
          </a:prstGeom>
          <a:solidFill>
            <a:schemeClr val="accent6"/>
          </a:solidFill>
        </p:spPr>
      </p:pic>
      <p:sp>
        <p:nvSpPr>
          <p:cNvPr id="43" name="object 41">
            <a:extLst>
              <a:ext uri="{FF2B5EF4-FFF2-40B4-BE49-F238E27FC236}">
                <a16:creationId xmlns:a16="http://schemas.microsoft.com/office/drawing/2014/main" id="{FF8CB293-B9DF-A528-D13B-99196A938EEC}"/>
              </a:ext>
            </a:extLst>
          </p:cNvPr>
          <p:cNvSpPr txBox="1"/>
          <p:nvPr/>
        </p:nvSpPr>
        <p:spPr>
          <a:xfrm>
            <a:off x="7541967" y="2122285"/>
            <a:ext cx="1136520" cy="1367039"/>
          </a:xfrm>
          <a:prstGeom prst="rect">
            <a:avLst/>
          </a:prstGeom>
        </p:spPr>
        <p:txBody>
          <a:bodyPr vert="horz" wrap="square" lIns="0" tIns="62865" rIns="0" bIns="0" rtlCol="0">
            <a:spAutoFit/>
          </a:bodyPr>
          <a:lstStyle/>
          <a:p>
            <a:pPr marL="47625" algn="ctr">
              <a:lnSpc>
                <a:spcPct val="100000"/>
              </a:lnSpc>
              <a:spcBef>
                <a:spcPts val="310"/>
              </a:spcBef>
            </a:pPr>
            <a:r>
              <a:rPr lang="it-IT" sz="1200" b="1" spc="-10" dirty="0">
                <a:latin typeface="Calibri"/>
                <a:cs typeface="Calibri"/>
              </a:rPr>
              <a:t>SR11-</a:t>
            </a:r>
            <a:r>
              <a:rPr lang="it-IT" sz="1200" b="1" spc="-50" dirty="0">
                <a:latin typeface="Calibri"/>
                <a:cs typeface="Calibri"/>
              </a:rPr>
              <a:t>7</a:t>
            </a:r>
            <a:endParaRPr lang="it-IT" sz="1200" dirty="0">
              <a:latin typeface="Calibri"/>
              <a:cs typeface="Calibri"/>
            </a:endParaRPr>
          </a:p>
          <a:p>
            <a:pPr marL="60960" marR="4445" indent="635" algn="ctr">
              <a:lnSpc>
                <a:spcPct val="100000"/>
              </a:lnSpc>
            </a:pPr>
            <a:r>
              <a:rPr lang="it-IT" sz="1200" dirty="0">
                <a:latin typeface="Calibri Light"/>
                <a:cs typeface="Calibri Light"/>
              </a:rPr>
              <a:t>Model</a:t>
            </a:r>
            <a:r>
              <a:rPr lang="it-IT" sz="1200" spc="-40" dirty="0">
                <a:latin typeface="Calibri Light"/>
                <a:cs typeface="Calibri Light"/>
              </a:rPr>
              <a:t> </a:t>
            </a:r>
            <a:r>
              <a:rPr lang="it-IT" sz="1200" spc="-20" dirty="0">
                <a:latin typeface="Calibri Light"/>
                <a:cs typeface="Calibri Light"/>
              </a:rPr>
              <a:t>Risk </a:t>
            </a:r>
            <a:r>
              <a:rPr lang="it-IT" sz="1200" spc="-10" dirty="0">
                <a:latin typeface="Calibri Light"/>
                <a:cs typeface="Calibri Light"/>
              </a:rPr>
              <a:t>Management </a:t>
            </a:r>
            <a:r>
              <a:rPr lang="it-IT" sz="1200" dirty="0">
                <a:latin typeface="Calibri Light"/>
                <a:cs typeface="Calibri Light"/>
              </a:rPr>
              <a:t>with</a:t>
            </a:r>
            <a:r>
              <a:rPr lang="it-IT" sz="1200" spc="-20" dirty="0">
                <a:latin typeface="Calibri Light"/>
                <a:cs typeface="Calibri Light"/>
              </a:rPr>
              <a:t> </a:t>
            </a:r>
            <a:r>
              <a:rPr lang="it-IT" sz="1200" spc="-25" dirty="0">
                <a:latin typeface="Calibri Light"/>
                <a:cs typeface="Calibri Light"/>
              </a:rPr>
              <a:t>OCC </a:t>
            </a:r>
            <a:r>
              <a:rPr lang="it-IT" sz="1200" dirty="0" err="1">
                <a:latin typeface="Calibri Light"/>
                <a:cs typeface="Calibri Light"/>
              </a:rPr>
              <a:t>clarifying</a:t>
            </a:r>
            <a:r>
              <a:rPr lang="it-IT" sz="1200" spc="-25" dirty="0">
                <a:latin typeface="Calibri Light"/>
                <a:cs typeface="Calibri Light"/>
              </a:rPr>
              <a:t> </a:t>
            </a:r>
            <a:r>
              <a:rPr lang="it-IT" sz="1200" dirty="0" err="1">
                <a:latin typeface="Calibri Light"/>
                <a:cs typeface="Calibri Light"/>
              </a:rPr>
              <a:t>that</a:t>
            </a:r>
            <a:r>
              <a:rPr lang="it-IT" sz="1200" spc="-20" dirty="0">
                <a:latin typeface="Calibri Light"/>
                <a:cs typeface="Calibri Light"/>
              </a:rPr>
              <a:t> </a:t>
            </a:r>
            <a:r>
              <a:rPr lang="it-IT" sz="1200" spc="-25" dirty="0">
                <a:latin typeface="Calibri Light"/>
                <a:cs typeface="Calibri Light"/>
              </a:rPr>
              <a:t>the </a:t>
            </a:r>
            <a:r>
              <a:rPr lang="it-IT" sz="1200" dirty="0" err="1">
                <a:latin typeface="Calibri Light"/>
                <a:cs typeface="Calibri Light"/>
              </a:rPr>
              <a:t>principles</a:t>
            </a:r>
            <a:r>
              <a:rPr lang="it-IT" sz="1200" spc="-55" dirty="0">
                <a:latin typeface="Calibri Light"/>
                <a:cs typeface="Calibri Light"/>
              </a:rPr>
              <a:t> </a:t>
            </a:r>
            <a:r>
              <a:rPr lang="it-IT" sz="1200" spc="-10" dirty="0" err="1">
                <a:latin typeface="Calibri Light"/>
                <a:cs typeface="Calibri Light"/>
              </a:rPr>
              <a:t>apply</a:t>
            </a:r>
            <a:r>
              <a:rPr lang="it-IT" sz="1200" spc="-10" dirty="0">
                <a:latin typeface="Calibri Light"/>
                <a:cs typeface="Calibri Light"/>
              </a:rPr>
              <a:t> </a:t>
            </a:r>
            <a:r>
              <a:rPr lang="it-IT" sz="1200" dirty="0">
                <a:latin typeface="Calibri Light"/>
                <a:cs typeface="Calibri Light"/>
              </a:rPr>
              <a:t>on</a:t>
            </a:r>
            <a:r>
              <a:rPr lang="it-IT" sz="1200" spc="-15" dirty="0">
                <a:latin typeface="Calibri Light"/>
                <a:cs typeface="Calibri Light"/>
              </a:rPr>
              <a:t> </a:t>
            </a:r>
            <a:r>
              <a:rPr lang="it-IT" sz="1200" spc="-25" dirty="0">
                <a:latin typeface="Calibri Light"/>
                <a:cs typeface="Calibri Light"/>
              </a:rPr>
              <a:t>AI</a:t>
            </a:r>
            <a:endParaRPr lang="it-IT" sz="1200" dirty="0">
              <a:latin typeface="Calibri Light"/>
              <a:cs typeface="Calibri Light"/>
            </a:endParaRPr>
          </a:p>
        </p:txBody>
      </p:sp>
      <p:sp>
        <p:nvSpPr>
          <p:cNvPr id="45" name="object 23">
            <a:extLst>
              <a:ext uri="{FF2B5EF4-FFF2-40B4-BE49-F238E27FC236}">
                <a16:creationId xmlns:a16="http://schemas.microsoft.com/office/drawing/2014/main" id="{44C17716-233B-3373-2293-6D6BC2EDA9AA}"/>
              </a:ext>
            </a:extLst>
          </p:cNvPr>
          <p:cNvSpPr txBox="1">
            <a:spLocks/>
          </p:cNvSpPr>
          <p:nvPr/>
        </p:nvSpPr>
        <p:spPr>
          <a:xfrm>
            <a:off x="530504" y="188645"/>
            <a:ext cx="9381916" cy="504625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73025" rIns="0" bIns="0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i="0" kern="1200">
                <a:solidFill>
                  <a:schemeClr val="tx1"/>
                </a:solidFill>
                <a:latin typeface="Trebuchet MS"/>
                <a:ea typeface="+mj-ea"/>
                <a:cs typeface="Trebuchet MS"/>
              </a:defRPr>
            </a:lvl1pPr>
          </a:lstStyle>
          <a:p>
            <a:pPr algn="ctr">
              <a:lnSpc>
                <a:spcPct val="100000"/>
              </a:lnSpc>
              <a:spcBef>
                <a:spcPts val="575"/>
              </a:spcBef>
            </a:pPr>
            <a:r>
              <a:rPr lang="it-IT" spc="-65" dirty="0"/>
              <a:t> </a:t>
            </a:r>
            <a:r>
              <a:rPr lang="it-IT" sz="2800" cap="all" dirty="0">
                <a:solidFill>
                  <a:schemeClr val="tx2"/>
                </a:solidFill>
                <a:latin typeface="Verdana" panose="020B0604030504040204" pitchFamily="34" charset="0"/>
                <a:cs typeface="+mj-cs"/>
              </a:rPr>
              <a:t>Perché l’AI deve essere regolamentata?</a:t>
            </a:r>
          </a:p>
        </p:txBody>
      </p:sp>
    </p:spTree>
    <p:extLst>
      <p:ext uri="{BB962C8B-B14F-4D97-AF65-F5344CB8AC3E}">
        <p14:creationId xmlns:p14="http://schemas.microsoft.com/office/powerpoint/2010/main" val="321674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LE | CHAPTER | CLOSING">
  <a:themeElements>
    <a:clrScheme name="ADVANT">
      <a:dk1>
        <a:srgbClr val="000000"/>
      </a:dk1>
      <a:lt1>
        <a:srgbClr val="FFFFFF"/>
      </a:lt1>
      <a:dk2>
        <a:srgbClr val="AC1938"/>
      </a:dk2>
      <a:lt2>
        <a:srgbClr val="646363"/>
      </a:lt2>
      <a:accent1>
        <a:srgbClr val="494949"/>
      </a:accent1>
      <a:accent2>
        <a:srgbClr val="7B7B79"/>
      </a:accent2>
      <a:accent3>
        <a:srgbClr val="A7A7A8"/>
      </a:accent3>
      <a:accent4>
        <a:srgbClr val="800026"/>
      </a:accent4>
      <a:accent5>
        <a:srgbClr val="A90036"/>
      </a:accent5>
      <a:accent6>
        <a:srgbClr val="E5A5A7"/>
      </a:accent6>
      <a:hlink>
        <a:srgbClr val="D3797E"/>
      </a:hlink>
      <a:folHlink>
        <a:srgbClr val="919292"/>
      </a:folHlink>
    </a:clrScheme>
    <a:fontScheme name="Advant">
      <a:majorFont>
        <a:latin typeface="Verdana Bold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ONTENT">
  <a:themeElements>
    <a:clrScheme name="ADVANT">
      <a:dk1>
        <a:srgbClr val="000000"/>
      </a:dk1>
      <a:lt1>
        <a:srgbClr val="FFFFFF"/>
      </a:lt1>
      <a:dk2>
        <a:srgbClr val="AC1938"/>
      </a:dk2>
      <a:lt2>
        <a:srgbClr val="646363"/>
      </a:lt2>
      <a:accent1>
        <a:srgbClr val="494949"/>
      </a:accent1>
      <a:accent2>
        <a:srgbClr val="7B7B79"/>
      </a:accent2>
      <a:accent3>
        <a:srgbClr val="A7A7A8"/>
      </a:accent3>
      <a:accent4>
        <a:srgbClr val="800026"/>
      </a:accent4>
      <a:accent5>
        <a:srgbClr val="A90036"/>
      </a:accent5>
      <a:accent6>
        <a:srgbClr val="E5A5A7"/>
      </a:accent6>
      <a:hlink>
        <a:srgbClr val="D3797E"/>
      </a:hlink>
      <a:folHlink>
        <a:srgbClr val="919292"/>
      </a:folHlink>
    </a:clrScheme>
    <a:fontScheme name="Advant">
      <a:majorFont>
        <a:latin typeface="Verdana Bold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��< ? x m l   v e r s i o n = " 1 . 0 "   e n c o d i n g = " u t f - 1 6 " ? > < p r o p e r t i e s   x m l n s = " h t t p : / / w w w . i m a n a g e . c o m / w o r k / x m l s c h e m a " >  
     < d o c u m e n t i d > D M S _ L i v e ! 8 3 7 6 8 0 9 . 2 < / d o c u m e n t i d >  
     < s e n d e r i d > C K A I S E R < / s e n d e r i d >  
     < s e n d e r e m a i l > C H R I S T I N E . K A I S E R @ B B L A W . C O M < / s e n d e r e m a i l >  
     < l a s t m o d i f i e d > 2 0 2 1 - 0 6 - 1 5 T 0 8 : 4 8 : 5 2 . 0 0 0 0 0 0 0 + 0 2 : 0 0 < / l a s t m o d i f i e d >  
     < d a t a b a s e > D M S _ L i v e < / d a t a b a s e >  
 < / p r o p e r t i e s > 
</file>

<file path=customXml/itemProps1.xml><?xml version="1.0" encoding="utf-8"?>
<ds:datastoreItem xmlns:ds="http://schemas.openxmlformats.org/officeDocument/2006/customXml" ds:itemID="{9EC8155C-3146-E84F-B0A7-2EAEDCF11722}">
  <ds:schemaRefs>
    <ds:schemaRef ds:uri="http://www.imanage.com/work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76</TotalTime>
  <Words>1615</Words>
  <Application>Microsoft Office PowerPoint</Application>
  <PresentationFormat>Widescreen</PresentationFormat>
  <Paragraphs>196</Paragraphs>
  <Slides>13</Slides>
  <Notes>1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9</vt:i4>
      </vt:variant>
      <vt:variant>
        <vt:lpstr>Tema</vt:lpstr>
      </vt:variant>
      <vt:variant>
        <vt:i4>2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3</vt:i4>
      </vt:variant>
    </vt:vector>
  </HeadingPairs>
  <TitlesOfParts>
    <vt:vector size="25" baseType="lpstr">
      <vt:lpstr>Arial</vt:lpstr>
      <vt:lpstr>Arial MT</vt:lpstr>
      <vt:lpstr>Calibri</vt:lpstr>
      <vt:lpstr>Calibri Light</vt:lpstr>
      <vt:lpstr>Courier New</vt:lpstr>
      <vt:lpstr>Times New Roman</vt:lpstr>
      <vt:lpstr>Trebuchet MS</vt:lpstr>
      <vt:lpstr>Verdana</vt:lpstr>
      <vt:lpstr>Wingdings</vt:lpstr>
      <vt:lpstr>TITLE | CHAPTER | CLOSING</vt:lpstr>
      <vt:lpstr>CONTENT</vt:lpstr>
      <vt:lpstr>think-cell Folie</vt:lpstr>
      <vt:lpstr>La sfida dell’ AI per il mercato assicurativo e gli impatti nella gestione del rischio </vt:lpstr>
      <vt:lpstr>Presentazione standard di PowerPoint</vt:lpstr>
      <vt:lpstr>GENAI come una SUB-DISCIPLINa dell’ AI</vt:lpstr>
      <vt:lpstr>Presentazione standard di PowerPoint</vt:lpstr>
      <vt:lpstr>GENERATIVE AI VERSUS TRADITIONAL AI</vt:lpstr>
      <vt:lpstr>KEY RISKS  della  GENAI (1/2)</vt:lpstr>
      <vt:lpstr>KEY RISKS OF GENAI (2/2)</vt:lpstr>
      <vt:lpstr>LARGE LANGUAGE MODELS IN INSURANCE</vt:lpstr>
      <vt:lpstr>Presentazione standard di PowerPoint</vt:lpstr>
      <vt:lpstr>Presentazione standard di PowerPoint</vt:lpstr>
      <vt:lpstr>Presentazione standard di PowerPoint</vt:lpstr>
      <vt:lpstr>Grazie!</vt:lpstr>
      <vt:lpstr>Presentazione standard di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Anna Mamontova</dc:creator>
  <cp:lastModifiedBy>Antonia Di Bella</cp:lastModifiedBy>
  <cp:revision>246</cp:revision>
  <dcterms:created xsi:type="dcterms:W3CDTF">2021-01-21T10:14:57Z</dcterms:created>
  <dcterms:modified xsi:type="dcterms:W3CDTF">2025-10-02T09:52:49Z</dcterms:modified>
</cp:coreProperties>
</file>